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7" r:id="rId4"/>
    <p:sldMasterId id="2147483660" r:id="rId5"/>
    <p:sldMasterId id="2147483826" r:id="rId6"/>
  </p:sldMasterIdLst>
  <p:notesMasterIdLst>
    <p:notesMasterId r:id="rId23"/>
  </p:notesMasterIdLst>
  <p:handoutMasterIdLst>
    <p:handoutMasterId r:id="rId24"/>
  </p:handoutMasterIdLst>
  <p:sldIdLst>
    <p:sldId id="258" r:id="rId7"/>
    <p:sldId id="262" r:id="rId8"/>
    <p:sldId id="2147197786" r:id="rId9"/>
    <p:sldId id="2147197851" r:id="rId10"/>
    <p:sldId id="3018" r:id="rId11"/>
    <p:sldId id="12304" r:id="rId12"/>
    <p:sldId id="3113" r:id="rId13"/>
    <p:sldId id="3071" r:id="rId14"/>
    <p:sldId id="3073" r:id="rId15"/>
    <p:sldId id="299" r:id="rId16"/>
    <p:sldId id="2147197808" r:id="rId17"/>
    <p:sldId id="2147197852" r:id="rId18"/>
    <p:sldId id="2147197848" r:id="rId19"/>
    <p:sldId id="2147197853" r:id="rId20"/>
    <p:sldId id="2147197850" r:id="rId21"/>
    <p:sldId id="2147197846" r:id="rId22"/>
  </p:sldIdLst>
  <p:sldSz cx="12192000" cy="6858000"/>
  <p:notesSz cx="6669088" cy="9753600"/>
  <p:custDataLst>
    <p:tags r:id="rId25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CD8C8F-7E5C-1E9D-E725-791338AB3729}" name="Kristin Weidemann Wieland" initials="KWW" userId="S::kristin.weidemann.wieland@ks.no::96481722-1b11-49a2-9dd2-20a08a4d1b6a" providerId="AD"/>
  <p188:author id="{2836EAAC-2DA0-C6CE-81A5-7B992418884A}" name="bjarne.martinsen" initials="bj" userId="S::bjarne.martinsen_pwc.com#ext#@ksiskyen.onmicrosoft.com::ddade35e-6e91-4f37-9089-5fe8e156e4e6" providerId="AD"/>
  <p188:author id="{34977CDB-2966-1BAF-FCB3-41EFA1DC663A}" name="Bjarne Aksnes Martinsen (NO)" initials="BAM(" userId="S::bjarne.martinsen@pwc.com::446a8980-1dee-43ae-8609-bba5977e3fc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bjørn Finstad" initials="AF" lastIdx="2" clrIdx="0">
    <p:extLst>
      <p:ext uri="{19B8F6BF-5375-455C-9EA6-DF929625EA0E}">
        <p15:presenceInfo xmlns:p15="http://schemas.microsoft.com/office/powerpoint/2012/main" userId="S::Asbjorn.Finstad@ks.no::a2beb3db-3ee9-4448-9802-61c4df488f44" providerId="AD"/>
      </p:ext>
    </p:extLst>
  </p:cmAuthor>
  <p:cmAuthor id="2" name="Kristin Weidemann Wieland" initials="KWW" lastIdx="9" clrIdx="1">
    <p:extLst>
      <p:ext uri="{19B8F6BF-5375-455C-9EA6-DF929625EA0E}">
        <p15:presenceInfo xmlns:p15="http://schemas.microsoft.com/office/powerpoint/2012/main" userId="S::kristin.weidemann.wieland@ks.no::96481722-1b11-49a2-9dd2-20a08a4d1b6a" providerId="AD"/>
      </p:ext>
    </p:extLst>
  </p:cmAuthor>
  <p:cmAuthor id="3" name="bjarne.martinsen" initials="bj" lastIdx="7" clrIdx="2">
    <p:extLst>
      <p:ext uri="{19B8F6BF-5375-455C-9EA6-DF929625EA0E}">
        <p15:presenceInfo xmlns:p15="http://schemas.microsoft.com/office/powerpoint/2012/main" userId="S::bjarne.martinsen_pwc.com#ext#@ksiskyen.onmicrosoft.com::ddade35e-6e91-4f37-9089-5fe8e156e4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046"/>
    <a:srgbClr val="BCCFE8"/>
    <a:srgbClr val="001A58"/>
    <a:srgbClr val="FFFF99"/>
    <a:srgbClr val="008C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F34817-C539-4195-B761-66DB5A982AEB}" v="5413" dt="2023-08-08T07:04:41.508"/>
    <p1510:client id="{61C33D15-4C5B-4CAF-9B68-526752617FEA}" v="14" dt="2023-08-07T13:46:23.079"/>
    <p1510:client id="{A1A578F7-C3B0-4D57-82FE-3ECC9F8A9FC2}" v="3" dt="2023-08-07T14:07:28.401"/>
    <p1510:client id="{BF1FA390-51BA-4C8A-9649-D7C1B7D0032A}" v="47" dt="2023-08-07T17:33:39.4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3" d="100"/>
          <a:sy n="113" d="100"/>
        </p:scale>
        <p:origin x="46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gs" Target="tags/tag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ristin Weidemann Wieland" userId="96481722-1b11-49a2-9dd2-20a08a4d1b6a" providerId="ADAL" clId="{02F34817-C539-4195-B761-66DB5A982AEB}"/>
    <pc:docChg chg="custSel modSld replTag">
      <pc:chgData name="Kristin Weidemann Wieland" userId="96481722-1b11-49a2-9dd2-20a08a4d1b6a" providerId="ADAL" clId="{02F34817-C539-4195-B761-66DB5A982AEB}" dt="2023-08-08T07:04:41.507" v="2362"/>
      <pc:docMkLst>
        <pc:docMk/>
      </pc:docMkLst>
      <pc:sldChg chg="modSp mod">
        <pc:chgData name="Kristin Weidemann Wieland" userId="96481722-1b11-49a2-9dd2-20a08a4d1b6a" providerId="ADAL" clId="{02F34817-C539-4195-B761-66DB5A982AEB}" dt="2023-08-08T07:04:39.836" v="2264"/>
        <pc:sldMkLst>
          <pc:docMk/>
          <pc:sldMk cId="2953483122" sldId="258"/>
        </pc:sldMkLst>
        <pc:spChg chg="mod">
          <ac:chgData name="Kristin Weidemann Wieland" userId="96481722-1b11-49a2-9dd2-20a08a4d1b6a" providerId="ADAL" clId="{02F34817-C539-4195-B761-66DB5A982AEB}" dt="2023-08-08T07:04:37.081" v="2154"/>
          <ac:spMkLst>
            <pc:docMk/>
            <pc:sldMk cId="2953483122" sldId="258"/>
            <ac:spMk id="3" creationId="{8D1756F4-B5E8-4E5A-A57E-8A720B827D51}"/>
          </ac:spMkLst>
        </pc:spChg>
        <pc:graphicFrameChg chg="mod">
          <ac:chgData name="Kristin Weidemann Wieland" userId="96481722-1b11-49a2-9dd2-20a08a4d1b6a" providerId="ADAL" clId="{02F34817-C539-4195-B761-66DB5A982AEB}" dt="2023-08-08T07:04:39.836" v="2264"/>
          <ac:graphicFrameMkLst>
            <pc:docMk/>
            <pc:sldMk cId="2953483122" sldId="258"/>
            <ac:graphicFrameMk id="2" creationId="{A2A6F738-1C89-44B1-A829-D86512A58B27}"/>
          </ac:graphicFrameMkLst>
        </pc:graphicFrameChg>
      </pc:sldChg>
      <pc:sldChg chg="modSp mod">
        <pc:chgData name="Kristin Weidemann Wieland" userId="96481722-1b11-49a2-9dd2-20a08a4d1b6a" providerId="ADAL" clId="{02F34817-C539-4195-B761-66DB5A982AEB}" dt="2023-08-08T07:04:38.574" v="2254"/>
        <pc:sldMkLst>
          <pc:docMk/>
          <pc:sldMk cId="2153291918" sldId="262"/>
        </pc:sldMkLst>
        <pc:picChg chg="mod">
          <ac:chgData name="Kristin Weidemann Wieland" userId="96481722-1b11-49a2-9dd2-20a08a4d1b6a" providerId="ADAL" clId="{02F34817-C539-4195-B761-66DB5A982AEB}" dt="2023-08-08T07:04:38.574" v="2254"/>
          <ac:picMkLst>
            <pc:docMk/>
            <pc:sldMk cId="2153291918" sldId="262"/>
            <ac:picMk id="3" creationId="{1CD4A032-F94E-9D10-10DE-F44EF09B0BFB}"/>
          </ac:picMkLst>
        </pc:picChg>
        <pc:picChg chg="mod">
          <ac:chgData name="Kristin Weidemann Wieland" userId="96481722-1b11-49a2-9dd2-20a08a4d1b6a" providerId="ADAL" clId="{02F34817-C539-4195-B761-66DB5A982AEB}" dt="2023-08-08T07:04:36.764" v="2128"/>
          <ac:picMkLst>
            <pc:docMk/>
            <pc:sldMk cId="2153291918" sldId="262"/>
            <ac:picMk id="8" creationId="{F01CF61C-7EC4-4171-05B1-4CDFEA8BBB0F}"/>
          </ac:picMkLst>
        </pc:picChg>
        <pc:picChg chg="mod">
          <ac:chgData name="Kristin Weidemann Wieland" userId="96481722-1b11-49a2-9dd2-20a08a4d1b6a" providerId="ADAL" clId="{02F34817-C539-4195-B761-66DB5A982AEB}" dt="2023-08-08T07:04:36.778" v="2130"/>
          <ac:picMkLst>
            <pc:docMk/>
            <pc:sldMk cId="2153291918" sldId="262"/>
            <ac:picMk id="10" creationId="{30626037-538D-E735-0012-C407EE674D3F}"/>
          </ac:picMkLst>
        </pc:picChg>
      </pc:sldChg>
      <pc:sldChg chg="modSp mod">
        <pc:chgData name="Kristin Weidemann Wieland" userId="96481722-1b11-49a2-9dd2-20a08a4d1b6a" providerId="ADAL" clId="{02F34817-C539-4195-B761-66DB5A982AEB}" dt="2023-08-08T07:04:41.507" v="2362"/>
        <pc:sldMkLst>
          <pc:docMk/>
          <pc:sldMk cId="1756899082" sldId="299"/>
        </pc:sldMkLst>
        <pc:spChg chg="mod">
          <ac:chgData name="Kristin Weidemann Wieland" userId="96481722-1b11-49a2-9dd2-20a08a4d1b6a" providerId="ADAL" clId="{02F34817-C539-4195-B761-66DB5A982AEB}" dt="2023-08-08T07:04:40.968" v="2330"/>
          <ac:spMkLst>
            <pc:docMk/>
            <pc:sldMk cId="1756899082" sldId="299"/>
            <ac:spMk id="3" creationId="{E92936AE-3EA5-E13F-0BCE-630F961511A3}"/>
          </ac:spMkLst>
        </pc:spChg>
        <pc:spChg chg="mod">
          <ac:chgData name="Kristin Weidemann Wieland" userId="96481722-1b11-49a2-9dd2-20a08a4d1b6a" providerId="ADAL" clId="{02F34817-C539-4195-B761-66DB5A982AEB}" dt="2023-08-08T07:04:38.286" v="2240"/>
          <ac:spMkLst>
            <pc:docMk/>
            <pc:sldMk cId="1756899082" sldId="299"/>
            <ac:spMk id="7" creationId="{0BDEBDDE-F87D-3A72-F2C5-26FDDE263618}"/>
          </ac:spMkLst>
        </pc:spChg>
        <pc:spChg chg="mod">
          <ac:chgData name="Kristin Weidemann Wieland" userId="96481722-1b11-49a2-9dd2-20a08a4d1b6a" providerId="ADAL" clId="{02F34817-C539-4195-B761-66DB5A982AEB}" dt="2023-08-08T07:04:40.812" v="2320"/>
          <ac:spMkLst>
            <pc:docMk/>
            <pc:sldMk cId="1756899082" sldId="299"/>
            <ac:spMk id="9" creationId="{0265BB30-F81F-4EDA-5A36-743F116B4214}"/>
          </ac:spMkLst>
        </pc:spChg>
        <pc:spChg chg="mod">
          <ac:chgData name="Kristin Weidemann Wieland" userId="96481722-1b11-49a2-9dd2-20a08a4d1b6a" providerId="ADAL" clId="{02F34817-C539-4195-B761-66DB5A982AEB}" dt="2023-08-08T07:04:40.842" v="2322"/>
          <ac:spMkLst>
            <pc:docMk/>
            <pc:sldMk cId="1756899082" sldId="299"/>
            <ac:spMk id="10" creationId="{0625D454-0346-2421-9D3B-E15A37583558}"/>
          </ac:spMkLst>
        </pc:spChg>
        <pc:spChg chg="mod">
          <ac:chgData name="Kristin Weidemann Wieland" userId="96481722-1b11-49a2-9dd2-20a08a4d1b6a" providerId="ADAL" clId="{02F34817-C539-4195-B761-66DB5A982AEB}" dt="2023-08-08T07:04:40.874" v="2324"/>
          <ac:spMkLst>
            <pc:docMk/>
            <pc:sldMk cId="1756899082" sldId="299"/>
            <ac:spMk id="11" creationId="{72561B28-1EB3-702D-5821-4A7046802ADF}"/>
          </ac:spMkLst>
        </pc:spChg>
        <pc:spChg chg="mod">
          <ac:chgData name="Kristin Weidemann Wieland" userId="96481722-1b11-49a2-9dd2-20a08a4d1b6a" providerId="ADAL" clId="{02F34817-C539-4195-B761-66DB5A982AEB}" dt="2023-08-08T07:04:40.907" v="2326"/>
          <ac:spMkLst>
            <pc:docMk/>
            <pc:sldMk cId="1756899082" sldId="299"/>
            <ac:spMk id="12" creationId="{FE46713B-B6A8-0713-2D88-63F160764EA7}"/>
          </ac:spMkLst>
        </pc:spChg>
        <pc:spChg chg="mod">
          <ac:chgData name="Kristin Weidemann Wieland" userId="96481722-1b11-49a2-9dd2-20a08a4d1b6a" providerId="ADAL" clId="{02F34817-C539-4195-B761-66DB5A982AEB}" dt="2023-08-08T07:04:40.938" v="2328"/>
          <ac:spMkLst>
            <pc:docMk/>
            <pc:sldMk cId="1756899082" sldId="299"/>
            <ac:spMk id="13" creationId="{FCC339DA-CAC4-3B19-FBF4-79A7E3918A17}"/>
          </ac:spMkLst>
        </pc:spChg>
        <pc:spChg chg="mod">
          <ac:chgData name="Kristin Weidemann Wieland" userId="96481722-1b11-49a2-9dd2-20a08a4d1b6a" providerId="ADAL" clId="{02F34817-C539-4195-B761-66DB5A982AEB}" dt="2023-08-08T07:04:41.003" v="2332"/>
          <ac:spMkLst>
            <pc:docMk/>
            <pc:sldMk cId="1756899082" sldId="299"/>
            <ac:spMk id="16" creationId="{A8EC3AA7-2874-91D6-0E87-6AD0949C56B4}"/>
          </ac:spMkLst>
        </pc:spChg>
        <pc:spChg chg="mod">
          <ac:chgData name="Kristin Weidemann Wieland" userId="96481722-1b11-49a2-9dd2-20a08a4d1b6a" providerId="ADAL" clId="{02F34817-C539-4195-B761-66DB5A982AEB}" dt="2023-08-08T07:04:41.035" v="2334"/>
          <ac:spMkLst>
            <pc:docMk/>
            <pc:sldMk cId="1756899082" sldId="299"/>
            <ac:spMk id="19" creationId="{5BD3A631-10BE-1319-8408-1ED0EB351084}"/>
          </ac:spMkLst>
        </pc:spChg>
        <pc:spChg chg="mod">
          <ac:chgData name="Kristin Weidemann Wieland" userId="96481722-1b11-49a2-9dd2-20a08a4d1b6a" providerId="ADAL" clId="{02F34817-C539-4195-B761-66DB5A982AEB}" dt="2023-08-08T07:04:40.580" v="2306"/>
          <ac:spMkLst>
            <pc:docMk/>
            <pc:sldMk cId="1756899082" sldId="299"/>
            <ac:spMk id="26" creationId="{5D55C1AD-2BAB-FEFC-4679-BE28542ADC46}"/>
          </ac:spMkLst>
        </pc:spChg>
        <pc:spChg chg="mod">
          <ac:chgData name="Kristin Weidemann Wieland" userId="96481722-1b11-49a2-9dd2-20a08a4d1b6a" providerId="ADAL" clId="{02F34817-C539-4195-B761-66DB5A982AEB}" dt="2023-08-08T07:04:41.067" v="2336"/>
          <ac:spMkLst>
            <pc:docMk/>
            <pc:sldMk cId="1756899082" sldId="299"/>
            <ac:spMk id="33" creationId="{7CBB33B6-A35A-20F0-04C7-AC08CE3C2A81}"/>
          </ac:spMkLst>
        </pc:spChg>
        <pc:spChg chg="mod">
          <ac:chgData name="Kristin Weidemann Wieland" userId="96481722-1b11-49a2-9dd2-20a08a4d1b6a" providerId="ADAL" clId="{02F34817-C539-4195-B761-66DB5A982AEB}" dt="2023-08-08T07:04:40.613" v="2308"/>
          <ac:spMkLst>
            <pc:docMk/>
            <pc:sldMk cId="1756899082" sldId="299"/>
            <ac:spMk id="2121" creationId="{00000000-0000-0000-0000-000000000000}"/>
          </ac:spMkLst>
        </pc:spChg>
        <pc:spChg chg="mod">
          <ac:chgData name="Kristin Weidemann Wieland" userId="96481722-1b11-49a2-9dd2-20a08a4d1b6a" providerId="ADAL" clId="{02F34817-C539-4195-B761-66DB5A982AEB}" dt="2023-08-08T07:04:37.791" v="2216"/>
          <ac:spMkLst>
            <pc:docMk/>
            <pc:sldMk cId="1756899082" sldId="299"/>
            <ac:spMk id="2122" creationId="{00000000-0000-0000-0000-000000000000}"/>
          </ac:spMkLst>
        </pc:spChg>
        <pc:spChg chg="mod">
          <ac:chgData name="Kristin Weidemann Wieland" userId="96481722-1b11-49a2-9dd2-20a08a4d1b6a" providerId="ADAL" clId="{02F34817-C539-4195-B761-66DB5A982AEB}" dt="2023-08-08T07:04:40.646" v="2310"/>
          <ac:spMkLst>
            <pc:docMk/>
            <pc:sldMk cId="1756899082" sldId="299"/>
            <ac:spMk id="2124" creationId="{00000000-0000-0000-0000-000000000000}"/>
          </ac:spMkLst>
        </pc:spChg>
        <pc:spChg chg="mod">
          <ac:chgData name="Kristin Weidemann Wieland" userId="96481722-1b11-49a2-9dd2-20a08a4d1b6a" providerId="ADAL" clId="{02F34817-C539-4195-B761-66DB5A982AEB}" dt="2023-08-08T07:04:40.676" v="2312"/>
          <ac:spMkLst>
            <pc:docMk/>
            <pc:sldMk cId="1756899082" sldId="299"/>
            <ac:spMk id="2125" creationId="{00000000-0000-0000-0000-000000000000}"/>
          </ac:spMkLst>
        </pc:spChg>
        <pc:spChg chg="mod">
          <ac:chgData name="Kristin Weidemann Wieland" userId="96481722-1b11-49a2-9dd2-20a08a4d1b6a" providerId="ADAL" clId="{02F34817-C539-4195-B761-66DB5A982AEB}" dt="2023-08-08T07:04:40.712" v="2314"/>
          <ac:spMkLst>
            <pc:docMk/>
            <pc:sldMk cId="1756899082" sldId="299"/>
            <ac:spMk id="2126" creationId="{00000000-0000-0000-0000-000000000000}"/>
          </ac:spMkLst>
        </pc:spChg>
        <pc:spChg chg="mod">
          <ac:chgData name="Kristin Weidemann Wieland" userId="96481722-1b11-49a2-9dd2-20a08a4d1b6a" providerId="ADAL" clId="{02F34817-C539-4195-B761-66DB5A982AEB}" dt="2023-08-08T07:04:40.746" v="2316"/>
          <ac:spMkLst>
            <pc:docMk/>
            <pc:sldMk cId="1756899082" sldId="299"/>
            <ac:spMk id="2127" creationId="{00000000-0000-0000-0000-000000000000}"/>
          </ac:spMkLst>
        </pc:spChg>
        <pc:spChg chg="mod">
          <ac:chgData name="Kristin Weidemann Wieland" userId="96481722-1b11-49a2-9dd2-20a08a4d1b6a" providerId="ADAL" clId="{02F34817-C539-4195-B761-66DB5A982AEB}" dt="2023-08-08T07:04:40.779" v="2318"/>
          <ac:spMkLst>
            <pc:docMk/>
            <pc:sldMk cId="1756899082" sldId="299"/>
            <ac:spMk id="2128" creationId="{00000000-0000-0000-0000-000000000000}"/>
          </ac:spMkLst>
        </pc:spChg>
        <pc:picChg chg="mod">
          <ac:chgData name="Kristin Weidemann Wieland" userId="96481722-1b11-49a2-9dd2-20a08a4d1b6a" providerId="ADAL" clId="{02F34817-C539-4195-B761-66DB5A982AEB}" dt="2023-08-08T07:04:41.451" v="2358"/>
          <ac:picMkLst>
            <pc:docMk/>
            <pc:sldMk cId="1756899082" sldId="299"/>
            <ac:picMk id="15" creationId="{571851A0-D8AE-4FEB-758A-C7D517945931}"/>
          </ac:picMkLst>
        </pc:picChg>
        <pc:picChg chg="mod">
          <ac:chgData name="Kristin Weidemann Wieland" userId="96481722-1b11-49a2-9dd2-20a08a4d1b6a" providerId="ADAL" clId="{02F34817-C539-4195-B761-66DB5A982AEB}" dt="2023-08-08T07:04:41.477" v="2360"/>
          <ac:picMkLst>
            <pc:docMk/>
            <pc:sldMk cId="1756899082" sldId="299"/>
            <ac:picMk id="18" creationId="{05BF538F-D82A-A04F-7F19-1BF12708E9C7}"/>
          </ac:picMkLst>
        </pc:picChg>
        <pc:picChg chg="mod">
          <ac:chgData name="Kristin Weidemann Wieland" userId="96481722-1b11-49a2-9dd2-20a08a4d1b6a" providerId="ADAL" clId="{02F34817-C539-4195-B761-66DB5A982AEB}" dt="2023-08-08T07:04:41.421" v="2356"/>
          <ac:picMkLst>
            <pc:docMk/>
            <pc:sldMk cId="1756899082" sldId="299"/>
            <ac:picMk id="20" creationId="{8A01ABE4-188A-8C66-0281-F855770F13A7}"/>
          </ac:picMkLst>
        </pc:picChg>
        <pc:picChg chg="mod">
          <ac:chgData name="Kristin Weidemann Wieland" userId="96481722-1b11-49a2-9dd2-20a08a4d1b6a" providerId="ADAL" clId="{02F34817-C539-4195-B761-66DB5A982AEB}" dt="2023-08-08T07:04:41.507" v="2362"/>
          <ac:picMkLst>
            <pc:docMk/>
            <pc:sldMk cId="1756899082" sldId="299"/>
            <ac:picMk id="32" creationId="{A66A6717-501E-8033-5CC7-ED6333616454}"/>
          </ac:picMkLst>
        </pc:picChg>
        <pc:cxnChg chg="mod">
          <ac:chgData name="Kristin Weidemann Wieland" userId="96481722-1b11-49a2-9dd2-20a08a4d1b6a" providerId="ADAL" clId="{02F34817-C539-4195-B761-66DB5A982AEB}" dt="2023-08-08T07:04:38.322" v="2242"/>
          <ac:cxnSpMkLst>
            <pc:docMk/>
            <pc:sldMk cId="1756899082" sldId="299"/>
            <ac:cxnSpMk id="8" creationId="{E0AEB9B6-88FA-F2FB-CF8F-BA23398E67C6}"/>
          </ac:cxnSpMkLst>
        </pc:cxnChg>
        <pc:cxnChg chg="mod">
          <ac:chgData name="Kristin Weidemann Wieland" userId="96481722-1b11-49a2-9dd2-20a08a4d1b6a" providerId="ADAL" clId="{02F34817-C539-4195-B761-66DB5A982AEB}" dt="2023-08-08T07:04:38.362" v="2244"/>
          <ac:cxnSpMkLst>
            <pc:docMk/>
            <pc:sldMk cId="1756899082" sldId="299"/>
            <ac:cxnSpMk id="14" creationId="{461EADF6-B070-2E25-97CF-B6331AD68E48}"/>
          </ac:cxnSpMkLst>
        </pc:cxnChg>
        <pc:cxnChg chg="mod">
          <ac:chgData name="Kristin Weidemann Wieland" userId="96481722-1b11-49a2-9dd2-20a08a4d1b6a" providerId="ADAL" clId="{02F34817-C539-4195-B761-66DB5A982AEB}" dt="2023-08-08T07:04:38.404" v="2246"/>
          <ac:cxnSpMkLst>
            <pc:docMk/>
            <pc:sldMk cId="1756899082" sldId="299"/>
            <ac:cxnSpMk id="25" creationId="{3F0C0984-F561-9C62-9FC9-5E293325B540}"/>
          </ac:cxnSpMkLst>
        </pc:cxnChg>
        <pc:cxnChg chg="mod">
          <ac:chgData name="Kristin Weidemann Wieland" userId="96481722-1b11-49a2-9dd2-20a08a4d1b6a" providerId="ADAL" clId="{02F34817-C539-4195-B761-66DB5A982AEB}" dt="2023-08-08T07:04:37.831" v="2218"/>
          <ac:cxnSpMkLst>
            <pc:docMk/>
            <pc:sldMk cId="1756899082" sldId="299"/>
            <ac:cxnSpMk id="2123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7.871" v="2220"/>
          <ac:cxnSpMkLst>
            <pc:docMk/>
            <pc:sldMk cId="1756899082" sldId="299"/>
            <ac:cxnSpMk id="2148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7.907" v="2222"/>
          <ac:cxnSpMkLst>
            <pc:docMk/>
            <pc:sldMk cId="1756899082" sldId="299"/>
            <ac:cxnSpMk id="2149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7.945" v="2224"/>
          <ac:cxnSpMkLst>
            <pc:docMk/>
            <pc:sldMk cId="1756899082" sldId="299"/>
            <ac:cxnSpMk id="2150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7.982" v="2226"/>
          <ac:cxnSpMkLst>
            <pc:docMk/>
            <pc:sldMk cId="1756899082" sldId="299"/>
            <ac:cxnSpMk id="2151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8.020" v="2228"/>
          <ac:cxnSpMkLst>
            <pc:docMk/>
            <pc:sldMk cId="1756899082" sldId="299"/>
            <ac:cxnSpMk id="2152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8.066" v="2230"/>
          <ac:cxnSpMkLst>
            <pc:docMk/>
            <pc:sldMk cId="1756899082" sldId="299"/>
            <ac:cxnSpMk id="2153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8.105" v="2232"/>
          <ac:cxnSpMkLst>
            <pc:docMk/>
            <pc:sldMk cId="1756899082" sldId="299"/>
            <ac:cxnSpMk id="2154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8.145" v="2234"/>
          <ac:cxnSpMkLst>
            <pc:docMk/>
            <pc:sldMk cId="1756899082" sldId="299"/>
            <ac:cxnSpMk id="2155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8.188" v="2236"/>
          <ac:cxnSpMkLst>
            <pc:docMk/>
            <pc:sldMk cId="1756899082" sldId="299"/>
            <ac:cxnSpMk id="2157" creationId="{00000000-0000-0000-0000-000000000000}"/>
          </ac:cxnSpMkLst>
        </pc:cxnChg>
        <pc:cxnChg chg="mod">
          <ac:chgData name="Kristin Weidemann Wieland" userId="96481722-1b11-49a2-9dd2-20a08a4d1b6a" providerId="ADAL" clId="{02F34817-C539-4195-B761-66DB5A982AEB}" dt="2023-08-08T07:04:38.240" v="2238"/>
          <ac:cxnSpMkLst>
            <pc:docMk/>
            <pc:sldMk cId="1756899082" sldId="299"/>
            <ac:cxnSpMk id="2158" creationId="{00000000-0000-0000-0000-000000000000}"/>
          </ac:cxnSpMkLst>
        </pc:cxnChg>
      </pc:sldChg>
      <pc:sldChg chg="modSp mod">
        <pc:chgData name="Kristin Weidemann Wieland" userId="96481722-1b11-49a2-9dd2-20a08a4d1b6a" providerId="ADAL" clId="{02F34817-C539-4195-B761-66DB5A982AEB}" dt="2023-08-08T07:04:39.959" v="2270"/>
        <pc:sldMkLst>
          <pc:docMk/>
          <pc:sldMk cId="1655384234" sldId="3018"/>
        </pc:sldMkLst>
        <pc:spChg chg="mod">
          <ac:chgData name="Kristin Weidemann Wieland" userId="96481722-1b11-49a2-9dd2-20a08a4d1b6a" providerId="ADAL" clId="{02F34817-C539-4195-B761-66DB5A982AEB}" dt="2023-08-08T07:04:37.129" v="2160"/>
          <ac:spMkLst>
            <pc:docMk/>
            <pc:sldMk cId="1655384234" sldId="3018"/>
            <ac:spMk id="3" creationId="{845367F6-7F4F-4DDE-B929-313091F1CD2D}"/>
          </ac:spMkLst>
        </pc:spChg>
        <pc:graphicFrameChg chg="mod">
          <ac:chgData name="Kristin Weidemann Wieland" userId="96481722-1b11-49a2-9dd2-20a08a4d1b6a" providerId="ADAL" clId="{02F34817-C539-4195-B761-66DB5A982AEB}" dt="2023-08-08T07:04:39.959" v="2270"/>
          <ac:graphicFrameMkLst>
            <pc:docMk/>
            <pc:sldMk cId="1655384234" sldId="3018"/>
            <ac:graphicFrameMk id="2" creationId="{975B1CCA-2D9A-4167-B809-6B539D18DC99}"/>
          </ac:graphicFrameMkLst>
        </pc:graphicFrameChg>
        <pc:picChg chg="mod">
          <ac:chgData name="Kristin Weidemann Wieland" userId="96481722-1b11-49a2-9dd2-20a08a4d1b6a" providerId="ADAL" clId="{02F34817-C539-4195-B761-66DB5A982AEB}" dt="2023-08-08T07:04:38.616" v="2256"/>
          <ac:picMkLst>
            <pc:docMk/>
            <pc:sldMk cId="1655384234" sldId="3018"/>
            <ac:picMk id="10" creationId="{4027E42F-55C5-1E4E-9F8B-A852A46A7FFA}"/>
          </ac:picMkLst>
        </pc:picChg>
      </pc:sldChg>
      <pc:sldChg chg="modSp mod">
        <pc:chgData name="Kristin Weidemann Wieland" userId="96481722-1b11-49a2-9dd2-20a08a4d1b6a" providerId="ADAL" clId="{02F34817-C539-4195-B761-66DB5A982AEB}" dt="2023-08-08T07:04:40.488" v="2300"/>
        <pc:sldMkLst>
          <pc:docMk/>
          <pc:sldMk cId="415690856" sldId="3071"/>
        </pc:sldMkLst>
        <pc:spChg chg="mod">
          <ac:chgData name="Kristin Weidemann Wieland" userId="96481722-1b11-49a2-9dd2-20a08a4d1b6a" providerId="ADAL" clId="{02F34817-C539-4195-B761-66DB5A982AEB}" dt="2023-08-08T07:04:37.267" v="2174"/>
          <ac:spMkLst>
            <pc:docMk/>
            <pc:sldMk cId="415690856" sldId="3071"/>
            <ac:spMk id="5" creationId="{34AFE60B-C1E0-47B7-8721-C7A92E13060C}"/>
          </ac:spMkLst>
        </pc:spChg>
        <pc:spChg chg="mod">
          <ac:chgData name="Kristin Weidemann Wieland" userId="96481722-1b11-49a2-9dd2-20a08a4d1b6a" providerId="ADAL" clId="{02F34817-C539-4195-B761-66DB5A982AEB}" dt="2023-08-08T07:04:40.488" v="2300"/>
          <ac:spMkLst>
            <pc:docMk/>
            <pc:sldMk cId="415690856" sldId="3071"/>
            <ac:spMk id="6" creationId="{BF017E94-72EE-4EF2-942F-1FCBE71EA1F7}"/>
          </ac:spMkLst>
        </pc:spChg>
        <pc:spChg chg="mod">
          <ac:chgData name="Kristin Weidemann Wieland" userId="96481722-1b11-49a2-9dd2-20a08a4d1b6a" providerId="ADAL" clId="{02F34817-C539-4195-B761-66DB5A982AEB}" dt="2023-08-08T07:04:37.242" v="2172"/>
          <ac:spMkLst>
            <pc:docMk/>
            <pc:sldMk cId="415690856" sldId="3071"/>
            <ac:spMk id="16" creationId="{2D47F844-7E09-4206-9C98-6EBE6CB6B99F}"/>
          </ac:spMkLst>
        </pc:spChg>
        <pc:spChg chg="mod">
          <ac:chgData name="Kristin Weidemann Wieland" userId="96481722-1b11-49a2-9dd2-20a08a4d1b6a" providerId="ADAL" clId="{02F34817-C539-4195-B761-66DB5A982AEB}" dt="2023-08-08T07:04:40.367" v="2292"/>
          <ac:spMkLst>
            <pc:docMk/>
            <pc:sldMk cId="415690856" sldId="3071"/>
            <ac:spMk id="17" creationId="{D839395F-3003-4D2B-84F2-B8E70AF40250}"/>
          </ac:spMkLst>
        </pc:spChg>
        <pc:spChg chg="mod">
          <ac:chgData name="Kristin Weidemann Wieland" userId="96481722-1b11-49a2-9dd2-20a08a4d1b6a" providerId="ADAL" clId="{02F34817-C539-4195-B761-66DB5A982AEB}" dt="2023-08-08T07:04:40.399" v="2294"/>
          <ac:spMkLst>
            <pc:docMk/>
            <pc:sldMk cId="415690856" sldId="3071"/>
            <ac:spMk id="19" creationId="{5FD2F0D5-1C6B-4AA7-8FCF-BF532166678E}"/>
          </ac:spMkLst>
        </pc:spChg>
        <pc:spChg chg="mod">
          <ac:chgData name="Kristin Weidemann Wieland" userId="96481722-1b11-49a2-9dd2-20a08a4d1b6a" providerId="ADAL" clId="{02F34817-C539-4195-B761-66DB5A982AEB}" dt="2023-08-08T07:04:37.281" v="2176"/>
          <ac:spMkLst>
            <pc:docMk/>
            <pc:sldMk cId="415690856" sldId="3071"/>
            <ac:spMk id="33" creationId="{99242AE9-C9B3-421F-BE7A-498CC461E599}"/>
          </ac:spMkLst>
        </pc:spChg>
        <pc:spChg chg="mod">
          <ac:chgData name="Kristin Weidemann Wieland" userId="96481722-1b11-49a2-9dd2-20a08a4d1b6a" providerId="ADAL" clId="{02F34817-C539-4195-B761-66DB5A982AEB}" dt="2023-08-08T07:04:37.320" v="2180"/>
          <ac:spMkLst>
            <pc:docMk/>
            <pc:sldMk cId="415690856" sldId="3071"/>
            <ac:spMk id="34" creationId="{0644265B-EE1C-47E7-AE4B-CA4D42D1C588}"/>
          </ac:spMkLst>
        </pc:spChg>
        <pc:spChg chg="mod">
          <ac:chgData name="Kristin Weidemann Wieland" userId="96481722-1b11-49a2-9dd2-20a08a4d1b6a" providerId="ADAL" clId="{02F34817-C539-4195-B761-66DB5A982AEB}" dt="2023-08-08T07:04:37.295" v="2178"/>
          <ac:spMkLst>
            <pc:docMk/>
            <pc:sldMk cId="415690856" sldId="3071"/>
            <ac:spMk id="42" creationId="{5C29CE3E-1973-41B5-962D-3EBB357937EB}"/>
          </ac:spMkLst>
        </pc:spChg>
        <pc:spChg chg="mod">
          <ac:chgData name="Kristin Weidemann Wieland" userId="96481722-1b11-49a2-9dd2-20a08a4d1b6a" providerId="ADAL" clId="{02F34817-C539-4195-B761-66DB5A982AEB}" dt="2023-08-08T07:04:37.334" v="2182"/>
          <ac:spMkLst>
            <pc:docMk/>
            <pc:sldMk cId="415690856" sldId="3071"/>
            <ac:spMk id="43" creationId="{CC69300D-033B-4A56-B461-50C5AF22274C}"/>
          </ac:spMkLst>
        </pc:spChg>
        <pc:spChg chg="mod">
          <ac:chgData name="Kristin Weidemann Wieland" userId="96481722-1b11-49a2-9dd2-20a08a4d1b6a" providerId="ADAL" clId="{02F34817-C539-4195-B761-66DB5A982AEB}" dt="2023-08-08T07:04:40.432" v="2296"/>
          <ac:spMkLst>
            <pc:docMk/>
            <pc:sldMk cId="415690856" sldId="3071"/>
            <ac:spMk id="44" creationId="{496BCC86-661F-4111-A532-4DEACF22A149}"/>
          </ac:spMkLst>
        </pc:spChg>
        <pc:spChg chg="mod">
          <ac:chgData name="Kristin Weidemann Wieland" userId="96481722-1b11-49a2-9dd2-20a08a4d1b6a" providerId="ADAL" clId="{02F34817-C539-4195-B761-66DB5A982AEB}" dt="2023-08-08T07:04:40.462" v="2298"/>
          <ac:spMkLst>
            <pc:docMk/>
            <pc:sldMk cId="415690856" sldId="3071"/>
            <ac:spMk id="45" creationId="{D985E322-375A-4925-ACB6-FBA01D138B2C}"/>
          </ac:spMkLst>
        </pc:spChg>
        <pc:spChg chg="mod">
          <ac:chgData name="Kristin Weidemann Wieland" userId="96481722-1b11-49a2-9dd2-20a08a4d1b6a" providerId="ADAL" clId="{02F34817-C539-4195-B761-66DB5A982AEB}" dt="2023-08-08T07:04:37.358" v="2184"/>
          <ac:spMkLst>
            <pc:docMk/>
            <pc:sldMk cId="415690856" sldId="3071"/>
            <ac:spMk id="46" creationId="{A863237B-6246-4C47-A0E0-3068334044B1}"/>
          </ac:spMkLst>
        </pc:spChg>
        <pc:spChg chg="mod">
          <ac:chgData name="Kristin Weidemann Wieland" userId="96481722-1b11-49a2-9dd2-20a08a4d1b6a" providerId="ADAL" clId="{02F34817-C539-4195-B761-66DB5A982AEB}" dt="2023-08-08T07:04:37.414" v="2186"/>
          <ac:spMkLst>
            <pc:docMk/>
            <pc:sldMk cId="415690856" sldId="3071"/>
            <ac:spMk id="47" creationId="{87D7AF74-81A6-4ACE-B8DA-B80A99006FE0}"/>
          </ac:spMkLst>
        </pc:spChg>
        <pc:graphicFrameChg chg="mod">
          <ac:chgData name="Kristin Weidemann Wieland" userId="96481722-1b11-49a2-9dd2-20a08a4d1b6a" providerId="ADAL" clId="{02F34817-C539-4195-B761-66DB5A982AEB}" dt="2023-08-08T07:04:40.083" v="2276"/>
          <ac:graphicFrameMkLst>
            <pc:docMk/>
            <pc:sldMk cId="415690856" sldId="3071"/>
            <ac:graphicFrameMk id="7" creationId="{80463E9D-F9C5-40CA-BF71-BFC362F20BBF}"/>
          </ac:graphicFrameMkLst>
        </pc:graphicFrameChg>
      </pc:sldChg>
      <pc:sldChg chg="modSp mod">
        <pc:chgData name="Kristin Weidemann Wieland" userId="96481722-1b11-49a2-9dd2-20a08a4d1b6a" providerId="ADAL" clId="{02F34817-C539-4195-B761-66DB5A982AEB}" dt="2023-08-08T07:04:40.547" v="2304"/>
        <pc:sldMkLst>
          <pc:docMk/>
          <pc:sldMk cId="3388024364" sldId="3073"/>
        </pc:sldMkLst>
        <pc:spChg chg="mod">
          <ac:chgData name="Kristin Weidemann Wieland" userId="96481722-1b11-49a2-9dd2-20a08a4d1b6a" providerId="ADAL" clId="{02F34817-C539-4195-B761-66DB5A982AEB}" dt="2023-08-08T07:04:40.514" v="2302"/>
          <ac:spMkLst>
            <pc:docMk/>
            <pc:sldMk cId="3388024364" sldId="3073"/>
            <ac:spMk id="71" creationId="{31036A4A-C8BB-4BCD-9DE1-4B925DF1690A}"/>
          </ac:spMkLst>
        </pc:spChg>
        <pc:spChg chg="mod">
          <ac:chgData name="Kristin Weidemann Wieland" userId="96481722-1b11-49a2-9dd2-20a08a4d1b6a" providerId="ADAL" clId="{02F34817-C539-4195-B761-66DB5A982AEB}" dt="2023-08-08T07:04:40.547" v="2304"/>
          <ac:spMkLst>
            <pc:docMk/>
            <pc:sldMk cId="3388024364" sldId="3073"/>
            <ac:spMk id="72" creationId="{D93060EB-04A2-46FF-86DF-6F7B0F6A29E5}"/>
          </ac:spMkLst>
        </pc:spChg>
        <pc:spChg chg="mod">
          <ac:chgData name="Kristin Weidemann Wieland" userId="96481722-1b11-49a2-9dd2-20a08a4d1b6a" providerId="ADAL" clId="{02F34817-C539-4195-B761-66DB5A982AEB}" dt="2023-08-08T07:04:37.619" v="2202"/>
          <ac:spMkLst>
            <pc:docMk/>
            <pc:sldMk cId="3388024364" sldId="3073"/>
            <ac:spMk id="79" creationId="{2F0355FA-B752-43D5-B07F-2F901A576501}"/>
          </ac:spMkLst>
        </pc:spChg>
        <pc:spChg chg="mod">
          <ac:chgData name="Kristin Weidemann Wieland" userId="96481722-1b11-49a2-9dd2-20a08a4d1b6a" providerId="ADAL" clId="{02F34817-C539-4195-B761-66DB5A982AEB}" dt="2023-08-08T07:04:37.540" v="2194"/>
          <ac:spMkLst>
            <pc:docMk/>
            <pc:sldMk cId="3388024364" sldId="3073"/>
            <ac:spMk id="106" creationId="{08F3F05C-548B-4A92-A0A5-2CB3D8FBAAE6}"/>
          </ac:spMkLst>
        </pc:spChg>
        <pc:graphicFrameChg chg="mod">
          <ac:chgData name="Kristin Weidemann Wieland" userId="96481722-1b11-49a2-9dd2-20a08a4d1b6a" providerId="ADAL" clId="{02F34817-C539-4195-B761-66DB5A982AEB}" dt="2023-08-08T07:04:40.123" v="2278"/>
          <ac:graphicFrameMkLst>
            <pc:docMk/>
            <pc:sldMk cId="3388024364" sldId="3073"/>
            <ac:graphicFrameMk id="11" creationId="{4EC16C41-E6F3-497D-8C10-29FE5D0F853C}"/>
          </ac:graphicFrameMkLst>
        </pc:graphicFrameChg>
        <pc:cxnChg chg="mod">
          <ac:chgData name="Kristin Weidemann Wieland" userId="96481722-1b11-49a2-9dd2-20a08a4d1b6a" providerId="ADAL" clId="{02F34817-C539-4195-B761-66DB5A982AEB}" dt="2023-08-08T07:04:37.678" v="2210"/>
          <ac:cxnSpMkLst>
            <pc:docMk/>
            <pc:sldMk cId="3388024364" sldId="3073"/>
            <ac:cxnSpMk id="8" creationId="{DBD559BF-B825-538D-3D34-2E5D974F66B2}"/>
          </ac:cxnSpMkLst>
        </pc:cxnChg>
        <pc:cxnChg chg="mod">
          <ac:chgData name="Kristin Weidemann Wieland" userId="96481722-1b11-49a2-9dd2-20a08a4d1b6a" providerId="ADAL" clId="{02F34817-C539-4195-B761-66DB5A982AEB}" dt="2023-08-08T07:04:37.710" v="2212"/>
          <ac:cxnSpMkLst>
            <pc:docMk/>
            <pc:sldMk cId="3388024364" sldId="3073"/>
            <ac:cxnSpMk id="12" creationId="{C70DA42F-37AB-1C39-D00D-22E4DBD7E211}"/>
          </ac:cxnSpMkLst>
        </pc:cxnChg>
        <pc:cxnChg chg="mod">
          <ac:chgData name="Kristin Weidemann Wieland" userId="96481722-1b11-49a2-9dd2-20a08a4d1b6a" providerId="ADAL" clId="{02F34817-C539-4195-B761-66DB5A982AEB}" dt="2023-08-08T07:04:37.451" v="2188"/>
          <ac:cxnSpMkLst>
            <pc:docMk/>
            <pc:sldMk cId="3388024364" sldId="3073"/>
            <ac:cxnSpMk id="13" creationId="{24EBA8AB-06D2-42EE-9F1F-348889AFFC13}"/>
          </ac:cxnSpMkLst>
        </pc:cxnChg>
        <pc:cxnChg chg="mod">
          <ac:chgData name="Kristin Weidemann Wieland" userId="96481722-1b11-49a2-9dd2-20a08a4d1b6a" providerId="ADAL" clId="{02F34817-C539-4195-B761-66DB5A982AEB}" dt="2023-08-08T07:04:37.477" v="2190"/>
          <ac:cxnSpMkLst>
            <pc:docMk/>
            <pc:sldMk cId="3388024364" sldId="3073"/>
            <ac:cxnSpMk id="16" creationId="{FA3F1B7F-EB1D-4A35-A1EE-6DF90503495E}"/>
          </ac:cxnSpMkLst>
        </pc:cxnChg>
        <pc:cxnChg chg="mod">
          <ac:chgData name="Kristin Weidemann Wieland" userId="96481722-1b11-49a2-9dd2-20a08a4d1b6a" providerId="ADAL" clId="{02F34817-C539-4195-B761-66DB5A982AEB}" dt="2023-08-08T07:04:37.511" v="2192"/>
          <ac:cxnSpMkLst>
            <pc:docMk/>
            <pc:sldMk cId="3388024364" sldId="3073"/>
            <ac:cxnSpMk id="19" creationId="{ADB87B78-07CA-4CAE-A5C3-15CF4493AA81}"/>
          </ac:cxnSpMkLst>
        </pc:cxnChg>
        <pc:cxnChg chg="mod">
          <ac:chgData name="Kristin Weidemann Wieland" userId="96481722-1b11-49a2-9dd2-20a08a4d1b6a" providerId="ADAL" clId="{02F34817-C539-4195-B761-66DB5A982AEB}" dt="2023-08-08T07:04:37.754" v="2214"/>
          <ac:cxnSpMkLst>
            <pc:docMk/>
            <pc:sldMk cId="3388024364" sldId="3073"/>
            <ac:cxnSpMk id="22" creationId="{14113811-E8B9-7673-955F-A73EC5C71C77}"/>
          </ac:cxnSpMkLst>
        </pc:cxnChg>
        <pc:cxnChg chg="mod">
          <ac:chgData name="Kristin Weidemann Wieland" userId="96481722-1b11-49a2-9dd2-20a08a4d1b6a" providerId="ADAL" clId="{02F34817-C539-4195-B761-66DB5A982AEB}" dt="2023-08-08T07:04:37.570" v="2196"/>
          <ac:cxnSpMkLst>
            <pc:docMk/>
            <pc:sldMk cId="3388024364" sldId="3073"/>
            <ac:cxnSpMk id="25" creationId="{A6EF6244-0B79-45F5-9AB6-9A159C2573ED}"/>
          </ac:cxnSpMkLst>
        </pc:cxnChg>
        <pc:cxnChg chg="mod">
          <ac:chgData name="Kristin Weidemann Wieland" userId="96481722-1b11-49a2-9dd2-20a08a4d1b6a" providerId="ADAL" clId="{02F34817-C539-4195-B761-66DB5A982AEB}" dt="2023-08-08T07:04:37.581" v="2198"/>
          <ac:cxnSpMkLst>
            <pc:docMk/>
            <pc:sldMk cId="3388024364" sldId="3073"/>
            <ac:cxnSpMk id="26" creationId="{1F4F61AF-ED4A-4DEF-9F95-4208E0D91D76}"/>
          </ac:cxnSpMkLst>
        </pc:cxnChg>
        <pc:cxnChg chg="mod">
          <ac:chgData name="Kristin Weidemann Wieland" userId="96481722-1b11-49a2-9dd2-20a08a4d1b6a" providerId="ADAL" clId="{02F34817-C539-4195-B761-66DB5A982AEB}" dt="2023-08-08T07:04:37.644" v="2206"/>
          <ac:cxnSpMkLst>
            <pc:docMk/>
            <pc:sldMk cId="3388024364" sldId="3073"/>
            <ac:cxnSpMk id="69" creationId="{85FA8669-5A6E-4658-B1DB-ACE138AFE00A}"/>
          </ac:cxnSpMkLst>
        </pc:cxnChg>
        <pc:cxnChg chg="mod">
          <ac:chgData name="Kristin Weidemann Wieland" userId="96481722-1b11-49a2-9dd2-20a08a4d1b6a" providerId="ADAL" clId="{02F34817-C539-4195-B761-66DB5A982AEB}" dt="2023-08-08T07:04:37.657" v="2208"/>
          <ac:cxnSpMkLst>
            <pc:docMk/>
            <pc:sldMk cId="3388024364" sldId="3073"/>
            <ac:cxnSpMk id="70" creationId="{4D07A778-8F83-4DB0-8522-E9959894E3C3}"/>
          </ac:cxnSpMkLst>
        </pc:cxnChg>
        <pc:cxnChg chg="mod">
          <ac:chgData name="Kristin Weidemann Wieland" userId="96481722-1b11-49a2-9dd2-20a08a4d1b6a" providerId="ADAL" clId="{02F34817-C539-4195-B761-66DB5A982AEB}" dt="2023-08-08T07:04:37.599" v="2200"/>
          <ac:cxnSpMkLst>
            <pc:docMk/>
            <pc:sldMk cId="3388024364" sldId="3073"/>
            <ac:cxnSpMk id="78" creationId="{B4FC4364-405B-4216-A507-0A30A82F3C1C}"/>
          </ac:cxnSpMkLst>
        </pc:cxnChg>
        <pc:cxnChg chg="mod">
          <ac:chgData name="Kristin Weidemann Wieland" userId="96481722-1b11-49a2-9dd2-20a08a4d1b6a" providerId="ADAL" clId="{02F34817-C539-4195-B761-66DB5A982AEB}" dt="2023-08-08T07:04:37.631" v="2204"/>
          <ac:cxnSpMkLst>
            <pc:docMk/>
            <pc:sldMk cId="3388024364" sldId="3073"/>
            <ac:cxnSpMk id="81" creationId="{B4FC4364-405B-4216-A507-0A30A82F3C1C}"/>
          </ac:cxnSpMkLst>
        </pc:cxnChg>
      </pc:sldChg>
      <pc:sldChg chg="modSp mod">
        <pc:chgData name="Kristin Weidemann Wieland" userId="96481722-1b11-49a2-9dd2-20a08a4d1b6a" providerId="ADAL" clId="{02F34817-C539-4195-B761-66DB5A982AEB}" dt="2023-08-08T07:04:40.043" v="2274"/>
        <pc:sldMkLst>
          <pc:docMk/>
          <pc:sldMk cId="3451462066" sldId="3113"/>
        </pc:sldMkLst>
        <pc:graphicFrameChg chg="mod">
          <ac:chgData name="Kristin Weidemann Wieland" userId="96481722-1b11-49a2-9dd2-20a08a4d1b6a" providerId="ADAL" clId="{02F34817-C539-4195-B761-66DB5A982AEB}" dt="2023-08-08T07:04:40.043" v="2274"/>
          <ac:graphicFrameMkLst>
            <pc:docMk/>
            <pc:sldMk cId="3451462066" sldId="3113"/>
            <ac:graphicFrameMk id="7" creationId="{07D09C14-9619-599B-2BB6-E0FFD99480D7}"/>
          </ac:graphicFrameMkLst>
        </pc:graphicFrameChg>
        <pc:picChg chg="mod">
          <ac:chgData name="Kristin Weidemann Wieland" userId="96481722-1b11-49a2-9dd2-20a08a4d1b6a" providerId="ADAL" clId="{02F34817-C539-4195-B761-66DB5A982AEB}" dt="2023-08-08T07:04:36.994" v="2143"/>
          <ac:picMkLst>
            <pc:docMk/>
            <pc:sldMk cId="3451462066" sldId="3113"/>
            <ac:picMk id="4" creationId="{A388E93F-5E04-3DA1-FF92-770720BC6DCF}"/>
          </ac:picMkLst>
        </pc:picChg>
        <pc:picChg chg="mod">
          <ac:chgData name="Kristin Weidemann Wieland" userId="96481722-1b11-49a2-9dd2-20a08a4d1b6a" providerId="ADAL" clId="{02F34817-C539-4195-B761-66DB5A982AEB}" dt="2023-08-08T07:04:37.010" v="2145"/>
          <ac:picMkLst>
            <pc:docMk/>
            <pc:sldMk cId="3451462066" sldId="3113"/>
            <ac:picMk id="5" creationId="{150B9992-1A25-495D-B6FE-554FCF9FC996}"/>
          </ac:picMkLst>
        </pc:picChg>
      </pc:sldChg>
      <pc:sldChg chg="modSp mod">
        <pc:chgData name="Kristin Weidemann Wieland" userId="96481722-1b11-49a2-9dd2-20a08a4d1b6a" providerId="ADAL" clId="{02F34817-C539-4195-B761-66DB5A982AEB}" dt="2023-08-08T07:04:40.337" v="2290"/>
        <pc:sldMkLst>
          <pc:docMk/>
          <pc:sldMk cId="1128231306" sldId="12304"/>
        </pc:sldMkLst>
        <pc:spChg chg="mod">
          <ac:chgData name="Kristin Weidemann Wieland" userId="96481722-1b11-49a2-9dd2-20a08a4d1b6a" providerId="ADAL" clId="{02F34817-C539-4195-B761-66DB5A982AEB}" dt="2023-08-08T07:04:37.228" v="2170"/>
          <ac:spMkLst>
            <pc:docMk/>
            <pc:sldMk cId="1128231306" sldId="12304"/>
            <ac:spMk id="41" creationId="{26033C5B-9FB4-4B33-BA50-624B9995A26A}"/>
          </ac:spMkLst>
        </pc:spChg>
        <pc:spChg chg="mod">
          <ac:chgData name="Kristin Weidemann Wieland" userId="96481722-1b11-49a2-9dd2-20a08a4d1b6a" providerId="ADAL" clId="{02F34817-C539-4195-B761-66DB5A982AEB}" dt="2023-08-08T07:04:40.337" v="2290"/>
          <ac:spMkLst>
            <pc:docMk/>
            <pc:sldMk cId="1128231306" sldId="12304"/>
            <ac:spMk id="83" creationId="{4499E616-62AA-4944-8443-89BF59103C6A}"/>
          </ac:spMkLst>
        </pc:spChg>
        <pc:spChg chg="mod">
          <ac:chgData name="Kristin Weidemann Wieland" userId="96481722-1b11-49a2-9dd2-20a08a4d1b6a" providerId="ADAL" clId="{02F34817-C539-4195-B761-66DB5A982AEB}" dt="2023-08-08T07:04:37.149" v="2162"/>
          <ac:spMkLst>
            <pc:docMk/>
            <pc:sldMk cId="1128231306" sldId="12304"/>
            <ac:spMk id="97" creationId="{12D501C4-2267-428D-AC0A-28CECA89D711}"/>
          </ac:spMkLst>
        </pc:spChg>
        <pc:spChg chg="mod">
          <ac:chgData name="Kristin Weidemann Wieland" userId="96481722-1b11-49a2-9dd2-20a08a4d1b6a" providerId="ADAL" clId="{02F34817-C539-4195-B761-66DB5A982AEB}" dt="2023-08-08T07:04:37.173" v="2164"/>
          <ac:spMkLst>
            <pc:docMk/>
            <pc:sldMk cId="1128231306" sldId="12304"/>
            <ac:spMk id="98" creationId="{E38AEAF8-DCBD-4620-A497-29EAB87D815F}"/>
          </ac:spMkLst>
        </pc:spChg>
        <pc:spChg chg="mod">
          <ac:chgData name="Kristin Weidemann Wieland" userId="96481722-1b11-49a2-9dd2-20a08a4d1b6a" providerId="ADAL" clId="{02F34817-C539-4195-B761-66DB5A982AEB}" dt="2023-08-08T07:04:37.199" v="2166"/>
          <ac:spMkLst>
            <pc:docMk/>
            <pc:sldMk cId="1128231306" sldId="12304"/>
            <ac:spMk id="99" creationId="{064CB619-C959-4A05-9596-3BF73746B8E6}"/>
          </ac:spMkLst>
        </pc:spChg>
        <pc:spChg chg="mod">
          <ac:chgData name="Kristin Weidemann Wieland" userId="96481722-1b11-49a2-9dd2-20a08a4d1b6a" providerId="ADAL" clId="{02F34817-C539-4195-B761-66DB5A982AEB}" dt="2023-08-08T07:04:37.215" v="2168"/>
          <ac:spMkLst>
            <pc:docMk/>
            <pc:sldMk cId="1128231306" sldId="12304"/>
            <ac:spMk id="100" creationId="{339CDE19-69A0-4B90-83AE-553376063DA8}"/>
          </ac:spMkLst>
        </pc:spChg>
        <pc:graphicFrameChg chg="mod">
          <ac:chgData name="Kristin Weidemann Wieland" userId="96481722-1b11-49a2-9dd2-20a08a4d1b6a" providerId="ADAL" clId="{02F34817-C539-4195-B761-66DB5A982AEB}" dt="2023-08-08T07:04:39.997" v="2272"/>
          <ac:graphicFrameMkLst>
            <pc:docMk/>
            <pc:sldMk cId="1128231306" sldId="12304"/>
            <ac:graphicFrameMk id="5" creationId="{0C3D7799-94B4-377B-539D-C33708AD018D}"/>
          </ac:graphicFrameMkLst>
        </pc:graphicFrameChg>
        <pc:picChg chg="mod">
          <ac:chgData name="Kristin Weidemann Wieland" userId="96481722-1b11-49a2-9dd2-20a08a4d1b6a" providerId="ADAL" clId="{02F34817-C539-4195-B761-66DB5A982AEB}" dt="2023-08-08T07:04:38.719" v="2258"/>
          <ac:picMkLst>
            <pc:docMk/>
            <pc:sldMk cId="1128231306" sldId="12304"/>
            <ac:picMk id="3" creationId="{47E864CC-0DC0-A04E-0EA4-1AB9D2957B5A}"/>
          </ac:picMkLst>
        </pc:picChg>
        <pc:picChg chg="mod">
          <ac:chgData name="Kristin Weidemann Wieland" userId="96481722-1b11-49a2-9dd2-20a08a4d1b6a" providerId="ADAL" clId="{02F34817-C539-4195-B761-66DB5A982AEB}" dt="2023-08-08T07:04:40.246" v="2284"/>
          <ac:picMkLst>
            <pc:docMk/>
            <pc:sldMk cId="1128231306" sldId="12304"/>
            <ac:picMk id="20" creationId="{787EFC55-FAC0-4F90-9378-3F029B320C2C}"/>
          </ac:picMkLst>
        </pc:picChg>
        <pc:picChg chg="mod">
          <ac:chgData name="Kristin Weidemann Wieland" userId="96481722-1b11-49a2-9dd2-20a08a4d1b6a" providerId="ADAL" clId="{02F34817-C539-4195-B761-66DB5A982AEB}" dt="2023-08-08T07:04:40.273" v="2286"/>
          <ac:picMkLst>
            <pc:docMk/>
            <pc:sldMk cId="1128231306" sldId="12304"/>
            <ac:picMk id="22" creationId="{C4D99E85-7B1F-42F9-9A3C-5CE5FE34F427}"/>
          </ac:picMkLst>
        </pc:picChg>
        <pc:picChg chg="mod">
          <ac:chgData name="Kristin Weidemann Wieland" userId="96481722-1b11-49a2-9dd2-20a08a4d1b6a" providerId="ADAL" clId="{02F34817-C539-4195-B761-66DB5A982AEB}" dt="2023-08-08T07:04:36.981" v="2141"/>
          <ac:picMkLst>
            <pc:docMk/>
            <pc:sldMk cId="1128231306" sldId="12304"/>
            <ac:picMk id="29" creationId="{E0D61D72-4C7E-41E7-955D-21F1A8F7A0C1}"/>
          </ac:picMkLst>
        </pc:picChg>
        <pc:picChg chg="mod">
          <ac:chgData name="Kristin Weidemann Wieland" userId="96481722-1b11-49a2-9dd2-20a08a4d1b6a" providerId="ADAL" clId="{02F34817-C539-4195-B761-66DB5A982AEB}" dt="2023-08-08T07:04:36.828" v="2133"/>
          <ac:picMkLst>
            <pc:docMk/>
            <pc:sldMk cId="1128231306" sldId="12304"/>
            <ac:picMk id="71" creationId="{4467C4BF-3FA4-4972-A001-CCD1BEBD2B79}"/>
          </ac:picMkLst>
        </pc:picChg>
        <pc:picChg chg="mod">
          <ac:chgData name="Kristin Weidemann Wieland" userId="96481722-1b11-49a2-9dd2-20a08a4d1b6a" providerId="ADAL" clId="{02F34817-C539-4195-B761-66DB5A982AEB}" dt="2023-08-08T07:04:36.847" v="2134"/>
          <ac:picMkLst>
            <pc:docMk/>
            <pc:sldMk cId="1128231306" sldId="12304"/>
            <ac:picMk id="72" creationId="{E9C66F0C-0C3C-4518-973A-90960259D8DF}"/>
          </ac:picMkLst>
        </pc:picChg>
        <pc:picChg chg="mod">
          <ac:chgData name="Kristin Weidemann Wieland" userId="96481722-1b11-49a2-9dd2-20a08a4d1b6a" providerId="ADAL" clId="{02F34817-C539-4195-B761-66DB5A982AEB}" dt="2023-08-08T07:04:36.878" v="2135"/>
          <ac:picMkLst>
            <pc:docMk/>
            <pc:sldMk cId="1128231306" sldId="12304"/>
            <ac:picMk id="75" creationId="{B869512E-2A9B-4664-AF02-709DC7A70615}"/>
          </ac:picMkLst>
        </pc:picChg>
        <pc:picChg chg="mod">
          <ac:chgData name="Kristin Weidemann Wieland" userId="96481722-1b11-49a2-9dd2-20a08a4d1b6a" providerId="ADAL" clId="{02F34817-C539-4195-B761-66DB5A982AEB}" dt="2023-08-08T07:04:36.906" v="2136"/>
          <ac:picMkLst>
            <pc:docMk/>
            <pc:sldMk cId="1128231306" sldId="12304"/>
            <ac:picMk id="76" creationId="{35D466AD-72FB-4DCE-B61B-DDCAA01AAA12}"/>
          </ac:picMkLst>
        </pc:picChg>
        <pc:picChg chg="mod">
          <ac:chgData name="Kristin Weidemann Wieland" userId="96481722-1b11-49a2-9dd2-20a08a4d1b6a" providerId="ADAL" clId="{02F34817-C539-4195-B761-66DB5A982AEB}" dt="2023-08-08T07:04:36.933" v="2137"/>
          <ac:picMkLst>
            <pc:docMk/>
            <pc:sldMk cId="1128231306" sldId="12304"/>
            <ac:picMk id="77" creationId="{14962F90-C490-4652-86D7-8C3D83FEB0AB}"/>
          </ac:picMkLst>
        </pc:picChg>
        <pc:picChg chg="mod">
          <ac:chgData name="Kristin Weidemann Wieland" userId="96481722-1b11-49a2-9dd2-20a08a4d1b6a" providerId="ADAL" clId="{02F34817-C539-4195-B761-66DB5A982AEB}" dt="2023-08-08T07:04:36.955" v="2138"/>
          <ac:picMkLst>
            <pc:docMk/>
            <pc:sldMk cId="1128231306" sldId="12304"/>
            <ac:picMk id="79" creationId="{AA791399-C3EE-4781-B873-FE9909E227A2}"/>
          </ac:picMkLst>
        </pc:picChg>
        <pc:picChg chg="mod">
          <ac:chgData name="Kristin Weidemann Wieland" userId="96481722-1b11-49a2-9dd2-20a08a4d1b6a" providerId="ADAL" clId="{02F34817-C539-4195-B761-66DB5A982AEB}" dt="2023-08-08T07:04:36.968" v="2139"/>
          <ac:picMkLst>
            <pc:docMk/>
            <pc:sldMk cId="1128231306" sldId="12304"/>
            <ac:picMk id="80" creationId="{5630D442-F8AE-4989-8D4C-7365529018EF}"/>
          </ac:picMkLst>
        </pc:picChg>
        <pc:picChg chg="mod">
          <ac:chgData name="Kristin Weidemann Wieland" userId="96481722-1b11-49a2-9dd2-20a08a4d1b6a" providerId="ADAL" clId="{02F34817-C539-4195-B761-66DB5A982AEB}" dt="2023-08-08T07:04:38.807" v="2260"/>
          <ac:picMkLst>
            <pc:docMk/>
            <pc:sldMk cId="1128231306" sldId="12304"/>
            <ac:picMk id="1026" creationId="{B239D16E-33BA-464F-A424-0286D657BA9A}"/>
          </ac:picMkLst>
        </pc:picChg>
        <pc:picChg chg="mod">
          <ac:chgData name="Kristin Weidemann Wieland" userId="96481722-1b11-49a2-9dd2-20a08a4d1b6a" providerId="ADAL" clId="{02F34817-C539-4195-B761-66DB5A982AEB}" dt="2023-08-08T07:04:38.846" v="2261"/>
          <ac:picMkLst>
            <pc:docMk/>
            <pc:sldMk cId="1128231306" sldId="12304"/>
            <ac:picMk id="1028" creationId="{31E0E49D-CEF4-4230-8494-0A41FB619C57}"/>
          </ac:picMkLst>
        </pc:picChg>
        <pc:picChg chg="mod">
          <ac:chgData name="Kristin Weidemann Wieland" userId="96481722-1b11-49a2-9dd2-20a08a4d1b6a" providerId="ADAL" clId="{02F34817-C539-4195-B761-66DB5A982AEB}" dt="2023-08-08T07:04:38.762" v="2259"/>
          <ac:picMkLst>
            <pc:docMk/>
            <pc:sldMk cId="1128231306" sldId="12304"/>
            <ac:picMk id="1030" creationId="{1D85B829-70D0-4010-9130-7F5EF2E4AA7E}"/>
          </ac:picMkLst>
        </pc:picChg>
      </pc:sldChg>
      <pc:sldChg chg="modSp mod">
        <pc:chgData name="Kristin Weidemann Wieland" userId="96481722-1b11-49a2-9dd2-20a08a4d1b6a" providerId="ADAL" clId="{02F34817-C539-4195-B761-66DB5A982AEB}" dt="2023-08-08T07:04:39.880" v="2266"/>
        <pc:sldMkLst>
          <pc:docMk/>
          <pc:sldMk cId="2191101127" sldId="2147197786"/>
        </pc:sldMkLst>
        <pc:spChg chg="mod">
          <ac:chgData name="Kristin Weidemann Wieland" userId="96481722-1b11-49a2-9dd2-20a08a4d1b6a" providerId="ADAL" clId="{02F34817-C539-4195-B761-66DB5A982AEB}" dt="2023-08-08T07:04:37.093" v="2156"/>
          <ac:spMkLst>
            <pc:docMk/>
            <pc:sldMk cId="2191101127" sldId="2147197786"/>
            <ac:spMk id="2" creationId="{20DF754E-1065-4B31-BECD-7023ADCD3948}"/>
          </ac:spMkLst>
        </pc:spChg>
        <pc:spChg chg="mod">
          <ac:chgData name="Kristin Weidemann Wieland" userId="96481722-1b11-49a2-9dd2-20a08a4d1b6a" providerId="ADAL" clId="{02F34817-C539-4195-B761-66DB5A982AEB}" dt="2023-08-08T07:04:37.108" v="2158"/>
          <ac:spMkLst>
            <pc:docMk/>
            <pc:sldMk cId="2191101127" sldId="2147197786"/>
            <ac:spMk id="4" creationId="{ABD28972-2303-4087-AFD0-34B35B8FB103}"/>
          </ac:spMkLst>
        </pc:spChg>
        <pc:grpChg chg="mod">
          <ac:chgData name="Kristin Weidemann Wieland" userId="96481722-1b11-49a2-9dd2-20a08a4d1b6a" providerId="ADAL" clId="{02F34817-C539-4195-B761-66DB5A982AEB}" dt="2023-08-08T07:04:39.880" v="2266"/>
          <ac:grpSpMkLst>
            <pc:docMk/>
            <pc:sldMk cId="2191101127" sldId="2147197786"/>
            <ac:grpSpMk id="6" creationId="{99A2E510-ADF1-FC96-1E29-9A4D18082F39}"/>
          </ac:grpSpMkLst>
        </pc:grpChg>
        <pc:picChg chg="mod">
          <ac:chgData name="Kristin Weidemann Wieland" userId="96481722-1b11-49a2-9dd2-20a08a4d1b6a" providerId="ADAL" clId="{02F34817-C539-4195-B761-66DB5A982AEB}" dt="2023-08-08T07:04:36.804" v="2132"/>
          <ac:picMkLst>
            <pc:docMk/>
            <pc:sldMk cId="2191101127" sldId="2147197786"/>
            <ac:picMk id="4098" creationId="{18FA34FF-59B7-4928-9049-D05FFAFB54CF}"/>
          </ac:picMkLst>
        </pc:picChg>
      </pc:sldChg>
      <pc:sldChg chg="modSp mod">
        <pc:chgData name="Kristin Weidemann Wieland" userId="96481722-1b11-49a2-9dd2-20a08a4d1b6a" providerId="ADAL" clId="{02F34817-C539-4195-B761-66DB5A982AEB}" dt="2023-08-08T07:04:41.188" v="2342"/>
        <pc:sldMkLst>
          <pc:docMk/>
          <pc:sldMk cId="417030041" sldId="2147197808"/>
        </pc:sldMkLst>
        <pc:spChg chg="mod">
          <ac:chgData name="Kristin Weidemann Wieland" userId="96481722-1b11-49a2-9dd2-20a08a4d1b6a" providerId="ADAL" clId="{02F34817-C539-4195-B761-66DB5A982AEB}" dt="2023-08-08T07:04:41.112" v="2338"/>
          <ac:spMkLst>
            <pc:docMk/>
            <pc:sldMk cId="417030041" sldId="2147197808"/>
            <ac:spMk id="4" creationId="{20CBDE3C-A89B-D61D-EBA6-9159C61D5991}"/>
          </ac:spMkLst>
        </pc:spChg>
        <pc:spChg chg="mod">
          <ac:chgData name="Kristin Weidemann Wieland" userId="96481722-1b11-49a2-9dd2-20a08a4d1b6a" providerId="ADAL" clId="{02F34817-C539-4195-B761-66DB5A982AEB}" dt="2023-08-08T07:04:38.447" v="2248"/>
          <ac:spMkLst>
            <pc:docMk/>
            <pc:sldMk cId="417030041" sldId="2147197808"/>
            <ac:spMk id="6" creationId="{D8E4D7C7-4167-A042-EF07-F51CD37BA051}"/>
          </ac:spMkLst>
        </pc:spChg>
        <pc:spChg chg="mod">
          <ac:chgData name="Kristin Weidemann Wieland" userId="96481722-1b11-49a2-9dd2-20a08a4d1b6a" providerId="ADAL" clId="{02F34817-C539-4195-B761-66DB5A982AEB}" dt="2023-08-08T07:04:41.188" v="2342"/>
          <ac:spMkLst>
            <pc:docMk/>
            <pc:sldMk cId="417030041" sldId="2147197808"/>
            <ac:spMk id="7" creationId="{2D3C32BD-63A0-1771-1235-386979F8AF8A}"/>
          </ac:spMkLst>
        </pc:spChg>
        <pc:spChg chg="mod">
          <ac:chgData name="Kristin Weidemann Wieland" userId="96481722-1b11-49a2-9dd2-20a08a4d1b6a" providerId="ADAL" clId="{02F34817-C539-4195-B761-66DB5A982AEB}" dt="2023-08-08T07:04:41.147" v="2340"/>
          <ac:spMkLst>
            <pc:docMk/>
            <pc:sldMk cId="417030041" sldId="2147197808"/>
            <ac:spMk id="8" creationId="{83FFACCE-D661-C116-74AE-DC27466844EE}"/>
          </ac:spMkLst>
        </pc:spChg>
        <pc:grpChg chg="mod">
          <ac:chgData name="Kristin Weidemann Wieland" userId="96481722-1b11-49a2-9dd2-20a08a4d1b6a" providerId="ADAL" clId="{02F34817-C539-4195-B761-66DB5A982AEB}" dt="2023-08-08T07:04:40.161" v="2280"/>
          <ac:grpSpMkLst>
            <pc:docMk/>
            <pc:sldMk cId="417030041" sldId="2147197808"/>
            <ac:grpSpMk id="9" creationId="{D5CB43CA-5145-40A4-9F44-FCE6E007454B}"/>
          </ac:grpSpMkLst>
        </pc:grpChg>
        <pc:cxnChg chg="mod">
          <ac:chgData name="Kristin Weidemann Wieland" userId="96481722-1b11-49a2-9dd2-20a08a4d1b6a" providerId="ADAL" clId="{02F34817-C539-4195-B761-66DB5A982AEB}" dt="2023-08-08T07:04:38.532" v="2252"/>
          <ac:cxnSpMkLst>
            <pc:docMk/>
            <pc:sldMk cId="417030041" sldId="2147197808"/>
            <ac:cxnSpMk id="3" creationId="{50CD66EC-25E4-4107-27D8-11A684042E59}"/>
          </ac:cxnSpMkLst>
        </pc:cxnChg>
        <pc:cxnChg chg="mod">
          <ac:chgData name="Kristin Weidemann Wieland" userId="96481722-1b11-49a2-9dd2-20a08a4d1b6a" providerId="ADAL" clId="{02F34817-C539-4195-B761-66DB5A982AEB}" dt="2023-08-08T07:04:40.204" v="2282"/>
          <ac:cxnSpMkLst>
            <pc:docMk/>
            <pc:sldMk cId="417030041" sldId="2147197808"/>
            <ac:cxnSpMk id="5" creationId="{3A71D4E8-3566-82AB-6A9A-928C42C6685C}"/>
          </ac:cxnSpMkLst>
        </pc:cxnChg>
        <pc:cxnChg chg="mod">
          <ac:chgData name="Kristin Weidemann Wieland" userId="96481722-1b11-49a2-9dd2-20a08a4d1b6a" providerId="ADAL" clId="{02F34817-C539-4195-B761-66DB5A982AEB}" dt="2023-08-08T07:04:38.489" v="2250"/>
          <ac:cxnSpMkLst>
            <pc:docMk/>
            <pc:sldMk cId="417030041" sldId="2147197808"/>
            <ac:cxnSpMk id="10" creationId="{C7D853AA-8801-CE08-608A-396726BA006A}"/>
          </ac:cxnSpMkLst>
        </pc:cxnChg>
      </pc:sldChg>
      <pc:sldChg chg="modSp mod delCm">
        <pc:chgData name="Kristin Weidemann Wieland" userId="96481722-1b11-49a2-9dd2-20a08a4d1b6a" providerId="ADAL" clId="{02F34817-C539-4195-B761-66DB5A982AEB}" dt="2023-08-08T07:04:37.057" v="2151"/>
        <pc:sldMkLst>
          <pc:docMk/>
          <pc:sldMk cId="615377404" sldId="2147197848"/>
        </pc:sldMkLst>
        <pc:picChg chg="mod">
          <ac:chgData name="Kristin Weidemann Wieland" userId="96481722-1b11-49a2-9dd2-20a08a4d1b6a" providerId="ADAL" clId="{02F34817-C539-4195-B761-66DB5A982AEB}" dt="2023-08-08T07:04:37.022" v="2147"/>
          <ac:picMkLst>
            <pc:docMk/>
            <pc:sldMk cId="615377404" sldId="2147197848"/>
            <ac:picMk id="13" creationId="{1A40C471-5F8F-9A3D-0764-BF5358E6E343}"/>
          </ac:picMkLst>
        </pc:picChg>
        <pc:picChg chg="mod">
          <ac:chgData name="Kristin Weidemann Wieland" userId="96481722-1b11-49a2-9dd2-20a08a4d1b6a" providerId="ADAL" clId="{02F34817-C539-4195-B761-66DB5A982AEB}" dt="2023-08-08T07:04:37.037" v="2149"/>
          <ac:picMkLst>
            <pc:docMk/>
            <pc:sldMk cId="615377404" sldId="2147197848"/>
            <ac:picMk id="14" creationId="{4C6321D5-E68F-6FA8-B25E-D8FF2B00AC50}"/>
          </ac:picMkLst>
        </pc:picChg>
        <pc:picChg chg="mod">
          <ac:chgData name="Kristin Weidemann Wieland" userId="96481722-1b11-49a2-9dd2-20a08a4d1b6a" providerId="ADAL" clId="{02F34817-C539-4195-B761-66DB5A982AEB}" dt="2023-08-08T07:04:37.057" v="2151"/>
          <ac:picMkLst>
            <pc:docMk/>
            <pc:sldMk cId="615377404" sldId="2147197848"/>
            <ac:picMk id="15" creationId="{3A1C1F76-885B-EDD9-CCAA-2A94DD010A41}"/>
          </ac:picMkLst>
        </pc:picChg>
      </pc:sldChg>
      <pc:sldChg chg="modSp mod">
        <pc:chgData name="Kristin Weidemann Wieland" userId="96481722-1b11-49a2-9dd2-20a08a4d1b6a" providerId="ADAL" clId="{02F34817-C539-4195-B761-66DB5A982AEB}" dt="2023-08-08T07:04:40.304" v="2288"/>
        <pc:sldMkLst>
          <pc:docMk/>
          <pc:sldMk cId="4287822323" sldId="2147197851"/>
        </pc:sldMkLst>
        <pc:spChg chg="mod">
          <ac:chgData name="Kristin Weidemann Wieland" userId="96481722-1b11-49a2-9dd2-20a08a4d1b6a" providerId="ADAL" clId="{02F34817-C539-4195-B761-66DB5A982AEB}" dt="2023-08-08T07:04:40.304" v="2288"/>
          <ac:spMkLst>
            <pc:docMk/>
            <pc:sldMk cId="4287822323" sldId="2147197851"/>
            <ac:spMk id="10" creationId="{200BED32-8E38-407A-ABF8-AC3D25611CE7}"/>
          </ac:spMkLst>
        </pc:spChg>
        <pc:graphicFrameChg chg="mod">
          <ac:chgData name="Kristin Weidemann Wieland" userId="96481722-1b11-49a2-9dd2-20a08a4d1b6a" providerId="ADAL" clId="{02F34817-C539-4195-B761-66DB5A982AEB}" dt="2023-08-08T07:04:39.919" v="2268"/>
          <ac:graphicFrameMkLst>
            <pc:docMk/>
            <pc:sldMk cId="4287822323" sldId="2147197851"/>
            <ac:graphicFrameMk id="4" creationId="{28ADAB03-BE08-4C7B-B46A-20E828BEA0FD}"/>
          </ac:graphicFrameMkLst>
        </pc:graphicFrameChg>
        <pc:graphicFrameChg chg="mod">
          <ac:chgData name="Kristin Weidemann Wieland" userId="96481722-1b11-49a2-9dd2-20a08a4d1b6a" providerId="ADAL" clId="{02F34817-C539-4195-B761-66DB5A982AEB}" dt="2023-08-08T07:04:37.070" v="2152"/>
          <ac:graphicFrameMkLst>
            <pc:docMk/>
            <pc:sldMk cId="4287822323" sldId="2147197851"/>
            <ac:graphicFrameMk id="6" creationId="{D1F680B9-9744-4D73-AE4B-15FCB7CB42CC}"/>
          </ac:graphicFrameMkLst>
        </pc:graphicFrameChg>
      </pc:sldChg>
      <pc:sldChg chg="modSp mod">
        <pc:chgData name="Kristin Weidemann Wieland" userId="96481722-1b11-49a2-9dd2-20a08a4d1b6a" providerId="ADAL" clId="{02F34817-C539-4195-B761-66DB5A982AEB}" dt="2023-08-08T07:04:41.390" v="2354"/>
        <pc:sldMkLst>
          <pc:docMk/>
          <pc:sldMk cId="2417181846" sldId="2147197852"/>
        </pc:sldMkLst>
        <pc:spChg chg="mod">
          <ac:chgData name="Kristin Weidemann Wieland" userId="96481722-1b11-49a2-9dd2-20a08a4d1b6a" providerId="ADAL" clId="{02F34817-C539-4195-B761-66DB5A982AEB}" dt="2023-08-08T07:04:41.218" v="2344"/>
          <ac:spMkLst>
            <pc:docMk/>
            <pc:sldMk cId="2417181846" sldId="2147197852"/>
            <ac:spMk id="5" creationId="{BCAB9395-1FF9-B1E0-7A9D-5492F60BE7C0}"/>
          </ac:spMkLst>
        </pc:spChg>
        <pc:spChg chg="mod">
          <ac:chgData name="Kristin Weidemann Wieland" userId="96481722-1b11-49a2-9dd2-20a08a4d1b6a" providerId="ADAL" clId="{02F34817-C539-4195-B761-66DB5A982AEB}" dt="2023-08-08T07:04:41.255" v="2346"/>
          <ac:spMkLst>
            <pc:docMk/>
            <pc:sldMk cId="2417181846" sldId="2147197852"/>
            <ac:spMk id="7" creationId="{6FF119F7-1B04-FFED-82B9-FA0E93EFDB8C}"/>
          </ac:spMkLst>
        </pc:spChg>
        <pc:spChg chg="mod">
          <ac:chgData name="Kristin Weidemann Wieland" userId="96481722-1b11-49a2-9dd2-20a08a4d1b6a" providerId="ADAL" clId="{02F34817-C539-4195-B761-66DB5A982AEB}" dt="2023-08-08T07:04:41.291" v="2348"/>
          <ac:spMkLst>
            <pc:docMk/>
            <pc:sldMk cId="2417181846" sldId="2147197852"/>
            <ac:spMk id="9" creationId="{1EC68D95-6607-5A24-102C-9CE7BAF25ADC}"/>
          </ac:spMkLst>
        </pc:spChg>
        <pc:spChg chg="mod">
          <ac:chgData name="Kristin Weidemann Wieland" userId="96481722-1b11-49a2-9dd2-20a08a4d1b6a" providerId="ADAL" clId="{02F34817-C539-4195-B761-66DB5A982AEB}" dt="2023-08-08T07:04:41.327" v="2350"/>
          <ac:spMkLst>
            <pc:docMk/>
            <pc:sldMk cId="2417181846" sldId="2147197852"/>
            <ac:spMk id="11" creationId="{E45E9A14-EF27-FC64-3D5B-125A6EA0A31C}"/>
          </ac:spMkLst>
        </pc:spChg>
        <pc:spChg chg="mod">
          <ac:chgData name="Kristin Weidemann Wieland" userId="96481722-1b11-49a2-9dd2-20a08a4d1b6a" providerId="ADAL" clId="{02F34817-C539-4195-B761-66DB5A982AEB}" dt="2023-08-08T07:04:41.357" v="2352"/>
          <ac:spMkLst>
            <pc:docMk/>
            <pc:sldMk cId="2417181846" sldId="2147197852"/>
            <ac:spMk id="13" creationId="{E96890C2-4824-B3A5-5C22-251109FC4DF3}"/>
          </ac:spMkLst>
        </pc:spChg>
        <pc:spChg chg="mod">
          <ac:chgData name="Kristin Weidemann Wieland" userId="96481722-1b11-49a2-9dd2-20a08a4d1b6a" providerId="ADAL" clId="{02F34817-C539-4195-B761-66DB5A982AEB}" dt="2023-08-08T07:04:41.390" v="2354"/>
          <ac:spMkLst>
            <pc:docMk/>
            <pc:sldMk cId="2417181846" sldId="2147197852"/>
            <ac:spMk id="15" creationId="{DE1E8FE5-B184-3762-4B0B-F7F14CDA6F9D}"/>
          </ac:spMkLst>
        </pc:spChg>
      </pc:sldChg>
      <pc:sldChg chg="modSp">
        <pc:chgData name="Kristin Weidemann Wieland" userId="96481722-1b11-49a2-9dd2-20a08a4d1b6a" providerId="ADAL" clId="{02F34817-C539-4195-B761-66DB5A982AEB}" dt="2023-08-08T07:04:38.889" v="2262"/>
        <pc:sldMkLst>
          <pc:docMk/>
          <pc:sldMk cId="660468536" sldId="2147197853"/>
        </pc:sldMkLst>
        <pc:picChg chg="mod">
          <ac:chgData name="Kristin Weidemann Wieland" userId="96481722-1b11-49a2-9dd2-20a08a4d1b6a" providerId="ADAL" clId="{02F34817-C539-4195-B761-66DB5A982AEB}" dt="2023-08-08T07:04:38.889" v="2262"/>
          <ac:picMkLst>
            <pc:docMk/>
            <pc:sldMk cId="660468536" sldId="2147197853"/>
            <ac:picMk id="5122" creationId="{E1D187B4-F472-004C-9BF5-8D8B194D8CCB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R2019</c:v>
                </c:pt>
                <c:pt idx="1">
                  <c:v>R2020</c:v>
                </c:pt>
                <c:pt idx="2">
                  <c:v>R2021</c:v>
                </c:pt>
                <c:pt idx="3">
                  <c:v>R2022</c:v>
                </c:pt>
                <c:pt idx="4">
                  <c:v>B2023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9</c:v>
                </c:pt>
                <c:pt idx="1">
                  <c:v>31</c:v>
                </c:pt>
                <c:pt idx="2">
                  <c:v>50</c:v>
                </c:pt>
                <c:pt idx="3">
                  <c:v>64</c:v>
                </c:pt>
                <c:pt idx="4">
                  <c:v>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10-486A-8987-E8DC158D81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6471679"/>
        <c:axId val="1046466271"/>
      </c:lineChart>
      <c:catAx>
        <c:axId val="10464716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046466271"/>
        <c:crosses val="autoZero"/>
        <c:auto val="1"/>
        <c:lblAlgn val="ctr"/>
        <c:lblOffset val="100"/>
        <c:noMultiLvlLbl val="0"/>
      </c:catAx>
      <c:valAx>
        <c:axId val="10464662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0464716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6778F-9D10-D546-AD42-60AA27D9D64A}" type="datetimeFigureOut">
              <a:t>08.08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264227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777607" y="9264227"/>
            <a:ext cx="2889938" cy="4876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5C552-36E2-FE4A-8959-3A7D73BFBA2A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891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93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7641E6-D8A3-4D52-B9F8-72C9B9AAB9CD}" type="datetimeFigureOut">
              <a:rPr lang="en-US"/>
              <a:t>8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19200"/>
            <a:ext cx="5853112" cy="3292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64228"/>
            <a:ext cx="2889938" cy="4893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84CE3-33DE-41CD-8D47-331B204955B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467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84CE3-33DE-41CD-8D47-331B204955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022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688DCB-DB4E-435B-9BF0-227961DE9E2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25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36332-7825-CC4C-A5F0-67C79CB2EC7A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21686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 </a:t>
            </a:r>
            <a:r>
              <a:rPr lang="en-US" err="1"/>
              <a:t>tråd</a:t>
            </a:r>
            <a:r>
              <a:rPr lang="en-US"/>
              <a:t> med </a:t>
            </a:r>
            <a:r>
              <a:rPr lang="en-US" err="1"/>
              <a:t>oppdraget</a:t>
            </a:r>
            <a:r>
              <a:rPr lang="en-US"/>
              <a:t> vi </a:t>
            </a:r>
            <a:r>
              <a:rPr lang="en-US" err="1"/>
              <a:t>har</a:t>
            </a:r>
            <a:r>
              <a:rPr lang="en-US"/>
              <a:t> </a:t>
            </a:r>
            <a:r>
              <a:rPr lang="en-US" err="1"/>
              <a:t>fått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Kristin </a:t>
            </a:r>
            <a:r>
              <a:rPr lang="en-US" err="1"/>
              <a:t>viste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, </a:t>
            </a:r>
            <a:r>
              <a:rPr lang="en-US" err="1"/>
              <a:t>så</a:t>
            </a:r>
            <a:r>
              <a:rPr lang="en-US"/>
              <a:t> </a:t>
            </a:r>
            <a:r>
              <a:rPr lang="en-US" err="1"/>
              <a:t>må</a:t>
            </a:r>
            <a:r>
              <a:rPr lang="en-US"/>
              <a:t> vi </a:t>
            </a:r>
            <a:r>
              <a:rPr lang="en-US" err="1"/>
              <a:t>legge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rette</a:t>
            </a:r>
            <a:r>
              <a:rPr lang="en-US"/>
              <a:t> for </a:t>
            </a:r>
            <a:r>
              <a:rPr lang="en-US" err="1"/>
              <a:t>vekst</a:t>
            </a:r>
            <a:r>
              <a:rPr lang="en-US"/>
              <a:t>, og at vi </a:t>
            </a:r>
            <a:r>
              <a:rPr lang="en-US" err="1"/>
              <a:t>skal</a:t>
            </a:r>
            <a:r>
              <a:rPr lang="en-US"/>
              <a:t> </a:t>
            </a:r>
            <a:r>
              <a:rPr lang="en-US" err="1"/>
              <a:t>gjøre</a:t>
            </a:r>
            <a:r>
              <a:rPr lang="en-US"/>
              <a:t> </a:t>
            </a:r>
            <a:r>
              <a:rPr lang="en-US" err="1"/>
              <a:t>vesentlig</a:t>
            </a:r>
            <a:r>
              <a:rPr lang="en-US"/>
              <a:t> </a:t>
            </a:r>
            <a:r>
              <a:rPr lang="en-US" err="1"/>
              <a:t>mer</a:t>
            </a:r>
            <a:r>
              <a:rPr lang="en-US"/>
              <a:t> </a:t>
            </a:r>
            <a:r>
              <a:rPr lang="en-US" err="1"/>
              <a:t>sammen</a:t>
            </a:r>
            <a:r>
              <a:rPr lang="en-US"/>
              <a:t>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36332-7825-CC4C-A5F0-67C79CB2EC7A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9007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-206375" y="782638"/>
            <a:ext cx="6951663" cy="3911600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C8D3EC-6F33-4E59-9495-5C9E97A84F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3296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1" u="sng">
                <a:solidFill>
                  <a:srgbClr val="001046"/>
                </a:solidFill>
                <a:cs typeface="Calibri"/>
              </a:rPr>
              <a:t>Valgkomite</a:t>
            </a:r>
            <a:endParaRPr lang="nb-NO" sz="1200" u="sng">
              <a:solidFill>
                <a:srgbClr val="001046"/>
              </a:solidFill>
              <a:cs typeface="Calibri"/>
            </a:endParaRPr>
          </a:p>
          <a:p>
            <a:r>
              <a:rPr lang="nb-NO" sz="1200">
                <a:solidFill>
                  <a:srgbClr val="001046"/>
                </a:solidFill>
                <a:cs typeface="Calibri"/>
              </a:rPr>
              <a:t>Generalforsamlingen nedsetter valgkomite hvis oppgave er å utpeke styremedlemmer og evt. styreutvalg. Generalforsamlingen kan fastsette instruks, med bl.a. kompetansekrav til styremedlemmer.</a:t>
            </a:r>
          </a:p>
          <a:p>
            <a:r>
              <a:rPr lang="nb-NO" sz="1200" b="1" u="sng">
                <a:solidFill>
                  <a:srgbClr val="001046"/>
                </a:solidFill>
                <a:cs typeface="Calibri"/>
              </a:rPr>
              <a:t>Representasjonsråd eller lignende arena. </a:t>
            </a:r>
          </a:p>
          <a:p>
            <a:r>
              <a:rPr lang="nb-NO" sz="1200">
                <a:solidFill>
                  <a:srgbClr val="001046"/>
                </a:solidFill>
                <a:cs typeface="Calibri"/>
              </a:rPr>
              <a:t>Det bør sikres en arena internt i KS som har til formål å ivareta kommunenes interesse i relasjon til DIF AS, og vedta en "eierstrategi" med innstilling fra generalforsamlingen i DIF AS.</a:t>
            </a:r>
          </a:p>
          <a:p>
            <a:r>
              <a:rPr lang="nb-NO" sz="1200">
                <a:solidFill>
                  <a:srgbClr val="001A58"/>
                </a:solidFill>
                <a:cs typeface="Calibri"/>
              </a:rPr>
              <a:t>(Det er mulig å gjenbruke KS' organ til dette formål, med nødvendige tilpasninger, eller bruke noe nytt.) </a:t>
            </a:r>
            <a:endParaRPr lang="nb-NO" sz="1200">
              <a:solidFill>
                <a:srgbClr val="001046"/>
              </a:solidFill>
              <a:cs typeface="Calibri"/>
            </a:endParaRPr>
          </a:p>
          <a:p>
            <a:r>
              <a:rPr lang="nb-NO" sz="1200" b="1" u="sng">
                <a:solidFill>
                  <a:srgbClr val="001046"/>
                </a:solidFill>
                <a:cs typeface="Calibri"/>
              </a:rPr>
              <a:t>Styreutvalg</a:t>
            </a:r>
            <a:endParaRPr lang="nb-NO" sz="1200" b="1" i="1">
              <a:solidFill>
                <a:srgbClr val="001046"/>
              </a:solidFill>
              <a:cs typeface="Calibri"/>
            </a:endParaRPr>
          </a:p>
          <a:p>
            <a:r>
              <a:rPr lang="nb-NO" sz="1200">
                <a:solidFill>
                  <a:srgbClr val="001046"/>
                </a:solidFill>
                <a:cs typeface="Calibri"/>
              </a:rPr>
              <a:t>Styret kan fritt opprette egne styreutvalg – fast eller adhoc. Styreutvalg rådgir/forbereder saker innenfor sitt mandat.</a:t>
            </a:r>
          </a:p>
          <a:p>
            <a:r>
              <a:rPr lang="nb-NO" sz="1200">
                <a:solidFill>
                  <a:srgbClr val="001046"/>
                </a:solidFill>
                <a:cs typeface="Calibri"/>
              </a:rPr>
              <a:t>KommIT-rådet som øverste organ for samstyringsstrukturen foreslås å være fast styreutvalg Dette reguleres i aktuelle styrende dokumenter for selskapet. </a:t>
            </a:r>
            <a:r>
              <a:rPr lang="nb-NO" sz="1200" b="1">
                <a:solidFill>
                  <a:srgbClr val="001046"/>
                </a:solidFill>
                <a:cs typeface="Calibri"/>
              </a:rPr>
              <a:t> </a:t>
            </a:r>
          </a:p>
          <a:p>
            <a:endParaRPr lang="nb-NO" sz="1200" i="1">
              <a:solidFill>
                <a:srgbClr val="001046"/>
              </a:solidFill>
              <a:cs typeface="Calibri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84CE3-33DE-41CD-8D47-331B204955B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258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7" name="Google Shape;2117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19200"/>
            <a:ext cx="5853112" cy="32924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18" name="Google Shape;2118;p33:notes"/>
          <p:cNvSpPr txBox="1">
            <a:spLocks noGrp="1"/>
          </p:cNvSpPr>
          <p:nvPr>
            <p:ph type="body" idx="1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19" name="Google Shape;2119;p33:notes"/>
          <p:cNvSpPr txBox="1">
            <a:spLocks noGrp="1"/>
          </p:cNvSpPr>
          <p:nvPr>
            <p:ph type="sldNum" idx="12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016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8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478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5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485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696774"/>
            <a:ext cx="5343939" cy="9133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1" y="0"/>
            <a:ext cx="6096000" cy="6858000"/>
          </a:xfrm>
          <a:solidFill>
            <a:srgbClr val="E3ECED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2319141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BD7B1-0547-4D22-9809-2E188BEF3966}" type="datetimeFigureOut">
              <a:rPr lang="nb-NO" smtClean="0"/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91E24-9667-4D70-A0A5-3F3F5D61088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987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456845" y="548535"/>
            <a:ext cx="5343939" cy="1172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456846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6096000" cy="6858000"/>
          </a:xfrm>
          <a:solidFill>
            <a:srgbClr val="E3ECED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34767856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endParaRPr lang="nb-NO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9" y="463549"/>
            <a:ext cx="953397" cy="476251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3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3256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2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52213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81089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69968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440263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539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41506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27150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80526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54364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7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9" y="463549"/>
            <a:ext cx="953397" cy="476251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 cstate="print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4"/>
            <a:ext cx="5117920" cy="507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1819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9" y="2196037"/>
            <a:ext cx="7151487" cy="1230559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9" y="463549"/>
            <a:ext cx="953397" cy="476251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 cstate="print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4"/>
            <a:ext cx="5117920" cy="507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3905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37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9" y="463549"/>
            <a:ext cx="953397" cy="476251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 cstate="print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4"/>
            <a:ext cx="5117920" cy="507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629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ksempel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456845" y="548535"/>
            <a:ext cx="5343939" cy="11728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456846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6096000" cy="6858000"/>
          </a:xfrm>
          <a:solidFill>
            <a:srgbClr val="E3ECED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3612183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>
  <p:cSld name="1_Tittel og innhold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38"/>
          <p:cNvSpPr txBox="1">
            <a:spLocks noGrp="1"/>
          </p:cNvSpPr>
          <p:nvPr>
            <p:ph type="title"/>
          </p:nvPr>
        </p:nvSpPr>
        <p:spPr>
          <a:xfrm>
            <a:off x="609600" y="732380"/>
            <a:ext cx="10972800" cy="1132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1046"/>
              </a:buClr>
              <a:buSzPts val="2800"/>
              <a:buFont typeface="Calibri"/>
              <a:buNone/>
              <a:defRPr>
                <a:solidFill>
                  <a:srgbClr val="00104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38"/>
          <p:cNvSpPr txBox="1">
            <a:spLocks noGrp="1"/>
          </p:cNvSpPr>
          <p:nvPr>
            <p:ph type="dt" idx="10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38"/>
          <p:cNvSpPr txBox="1">
            <a:spLocks noGrp="1"/>
          </p:cNvSpPr>
          <p:nvPr>
            <p:ph type="ftr" idx="11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38"/>
          <p:cNvSpPr txBox="1">
            <a:spLocks noGrp="1"/>
          </p:cNvSpPr>
          <p:nvPr>
            <p:ph type="sldNum" idx="12"/>
          </p:nvPr>
        </p:nvSpPr>
        <p:spPr>
          <a:xfrm>
            <a:off x="8737602" y="6173788"/>
            <a:ext cx="155905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88888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b="0" i="0" u="none" strike="noStrike" cap="none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13;p38"/>
          <p:cNvSpPr txBox="1">
            <a:spLocks noGrp="1"/>
          </p:cNvSpPr>
          <p:nvPr>
            <p:ph type="body" idx="1"/>
          </p:nvPr>
        </p:nvSpPr>
        <p:spPr>
          <a:xfrm>
            <a:off x="609601" y="1959429"/>
            <a:ext cx="10972800" cy="3611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rgbClr val="001A58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rgbClr val="001A58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rgbClr val="001A58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rgbClr val="001A58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rgbClr val="001A58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6726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24392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589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440263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2439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55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54994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75753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82128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37242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15407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4785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55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56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4851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1BD7B1-0547-4D22-9809-2E188BEF3966}" type="datetimeFigureOut">
              <a:rPr lang="nb-NO" smtClean="0"/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91E24-9667-4D70-A0A5-3F3F5D61088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98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54994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75753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8212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3724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1540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3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A22B3A-C70D-459F-944E-A06FC2770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6138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92" imgH="595" progId="TCLayout.ActiveDocument.1">
                  <p:embed/>
                </p:oleObj>
              </mc:Choice>
              <mc:Fallback>
                <p:oleObj name="think-cell Slide" r:id="rId19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A22B3A-C70D-459F-944E-A06FC2770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C3246D7-4187-449F-98FE-C41D9C521DC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1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649" r:id="rId10"/>
    <p:sldLayoutId id="2147483709" r:id="rId11"/>
    <p:sldLayoutId id="2147483710" r:id="rId12"/>
    <p:sldLayoutId id="2147483745" r:id="rId13"/>
    <p:sldLayoutId id="2147483854" r:id="rId14"/>
    <p:sldLayoutId id="2147483869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6537EE0-DF5A-09D8-73D2-EEBD50622A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07428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06" imgH="306" progId="TCLayout.ActiveDocument.1">
                  <p:embed/>
                </p:oleObj>
              </mc:Choice>
              <mc:Fallback>
                <p:oleObj name="think-cell Slide" r:id="rId17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537EE0-DF5A-09D8-73D2-EEBD50622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5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2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8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695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872" r:id="rId14"/>
  </p:sldLayoutIdLst>
  <p:txStyles>
    <p:titleStyle>
      <a:lvl1pPr algn="l" defTabSz="457189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A22B3A-C70D-459F-944E-A06FC2770F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61386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A22B3A-C70D-459F-944E-A06FC2770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C3246D7-4187-449F-98FE-C41D9C521DC4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08.08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2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731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5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6" Type="http://schemas.openxmlformats.org/officeDocument/2006/relationships/chart" Target="../charts/chart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5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notesSlide" Target="../notesSlides/notesSlide5.xml"/><Relationship Id="rId21" Type="http://schemas.openxmlformats.org/officeDocument/2006/relationships/image" Target="../media/image31.jpe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sv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6.emf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2A6F738-1C89-44B1-A829-D86512A58B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385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2A6F738-1C89-44B1-A829-D86512A58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1756F4-B5E8-4E5A-A57E-8A720B827D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300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ttel 5"/>
          <p:cNvSpPr>
            <a:spLocks noGrp="1"/>
          </p:cNvSpPr>
          <p:nvPr>
            <p:ph type="ctrTitle"/>
          </p:nvPr>
        </p:nvSpPr>
        <p:spPr>
          <a:xfrm>
            <a:off x="654703" y="2196035"/>
            <a:ext cx="7413532" cy="2269433"/>
          </a:xfrm>
        </p:spPr>
        <p:txBody>
          <a:bodyPr/>
          <a:lstStyle/>
          <a:p>
            <a:r>
              <a:rPr lang="nb-NO"/>
              <a:t>Selskapsetablering </a:t>
            </a:r>
            <a:br>
              <a:rPr lang="nb-NO"/>
            </a:br>
            <a:r>
              <a:rPr lang="nb-NO"/>
              <a:t>KS digitale fellestjenester og signaturer fra kommuner og fylkeskommuner</a:t>
            </a:r>
            <a:br>
              <a:rPr lang="nb-NO"/>
            </a:br>
            <a:br>
              <a:rPr lang="nb-NO"/>
            </a:br>
            <a:r>
              <a:rPr lang="nb-NO" sz="2000" err="1"/>
              <a:t>Webinar</a:t>
            </a:r>
            <a:r>
              <a:rPr lang="nb-NO" sz="2000"/>
              <a:t> 8.8.2023</a:t>
            </a:r>
            <a:endParaRPr lang="nb-NO" sz="2000">
              <a:cs typeface="Calibri"/>
            </a:endParaRPr>
          </a:p>
        </p:txBody>
      </p:sp>
      <p:sp>
        <p:nvSpPr>
          <p:cNvPr id="7" name="Undertittel 6"/>
          <p:cNvSpPr>
            <a:spLocks noGrp="1"/>
          </p:cNvSpPr>
          <p:nvPr>
            <p:ph type="subTitle" idx="1"/>
          </p:nvPr>
        </p:nvSpPr>
        <p:spPr>
          <a:xfrm>
            <a:off x="7081502" y="6165882"/>
            <a:ext cx="4748033" cy="475109"/>
          </a:xfrm>
        </p:spPr>
        <p:txBody>
          <a:bodyPr>
            <a:noAutofit/>
          </a:bodyPr>
          <a:lstStyle/>
          <a:p>
            <a:pPr algn="r"/>
            <a:r>
              <a:rPr lang="nb-NO" sz="1400" i="1">
                <a:solidFill>
                  <a:srgbClr val="001A58"/>
                </a:solidFill>
              </a:rPr>
              <a:t>«En selvstendig og nyskapende kommunesektor»</a:t>
            </a:r>
          </a:p>
        </p:txBody>
      </p:sp>
    </p:spTree>
    <p:extLst>
      <p:ext uri="{BB962C8B-B14F-4D97-AF65-F5344CB8AC3E}">
        <p14:creationId xmlns:p14="http://schemas.microsoft.com/office/powerpoint/2010/main" val="29534831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 descr="Papir kontur">
            <a:extLst>
              <a:ext uri="{FF2B5EF4-FFF2-40B4-BE49-F238E27FC236}">
                <a16:creationId xmlns:a16="http://schemas.microsoft.com/office/drawing/2014/main" id="{8A01ABE4-188A-8C66-0281-F855770F13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24278" y="775571"/>
            <a:ext cx="2647366" cy="2686099"/>
          </a:xfrm>
          <a:prstGeom prst="rect">
            <a:avLst/>
          </a:prstGeom>
        </p:spPr>
      </p:pic>
      <p:sp>
        <p:nvSpPr>
          <p:cNvPr id="26" name="TekstSylinder 25">
            <a:extLst>
              <a:ext uri="{FF2B5EF4-FFF2-40B4-BE49-F238E27FC236}">
                <a16:creationId xmlns:a16="http://schemas.microsoft.com/office/drawing/2014/main" id="{5D55C1AD-2BAB-FEFC-4679-BE28542ADC46}"/>
              </a:ext>
            </a:extLst>
          </p:cNvPr>
          <p:cNvSpPr txBox="1"/>
          <p:nvPr/>
        </p:nvSpPr>
        <p:spPr>
          <a:xfrm>
            <a:off x="9155146" y="1881402"/>
            <a:ext cx="12104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/>
              <a:t>Oppdrags-dokument2023-2024</a:t>
            </a:r>
          </a:p>
        </p:txBody>
      </p:sp>
      <p:sp>
        <p:nvSpPr>
          <p:cNvPr id="2121" name="Google Shape;2121;p33"/>
          <p:cNvSpPr txBox="1"/>
          <p:nvPr/>
        </p:nvSpPr>
        <p:spPr>
          <a:xfrm>
            <a:off x="364381" y="242914"/>
            <a:ext cx="7491718" cy="465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Georgia"/>
              <a:buNone/>
            </a:pPr>
            <a:r>
              <a:rPr lang="nb-NO" sz="240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Styrende dokumenter (eierstyring)</a:t>
            </a:r>
            <a:br>
              <a:rPr lang="nb-NO" sz="24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</a:br>
            <a:endParaRPr lang="nb-NO" sz="24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2122" name="Google Shape;2122;p33"/>
          <p:cNvSpPr/>
          <p:nvPr/>
        </p:nvSpPr>
        <p:spPr>
          <a:xfrm>
            <a:off x="993066" y="5399139"/>
            <a:ext cx="91440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123" name="Google Shape;2123;p33"/>
          <p:cNvCxnSpPr>
            <a:cxnSpLocks/>
          </p:cNvCxnSpPr>
          <p:nvPr/>
        </p:nvCxnSpPr>
        <p:spPr>
          <a:xfrm>
            <a:off x="1788752" y="5491171"/>
            <a:ext cx="8230570" cy="0"/>
          </a:xfrm>
          <a:prstGeom prst="straightConnector1">
            <a:avLst/>
          </a:prstGeom>
          <a:noFill/>
          <a:ln w="19050" cap="rnd" cmpd="sng">
            <a:solidFill>
              <a:schemeClr val="dk2"/>
            </a:solidFill>
            <a:prstDash val="dot"/>
            <a:round/>
            <a:headEnd type="none" w="sm" len="sm"/>
            <a:tailEnd type="triangle" w="med" len="med"/>
          </a:ln>
        </p:spPr>
      </p:cxnSp>
      <p:sp>
        <p:nvSpPr>
          <p:cNvPr id="2124" name="Google Shape;2124;p33"/>
          <p:cNvSpPr txBox="1"/>
          <p:nvPr/>
        </p:nvSpPr>
        <p:spPr>
          <a:xfrm>
            <a:off x="1347708" y="5395178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Feb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5" name="Google Shape;2125;p33"/>
          <p:cNvSpPr txBox="1"/>
          <p:nvPr/>
        </p:nvSpPr>
        <p:spPr>
          <a:xfrm>
            <a:off x="2952301" y="5398809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Mar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6" name="Google Shape;2126;p33"/>
          <p:cNvSpPr txBox="1"/>
          <p:nvPr/>
        </p:nvSpPr>
        <p:spPr>
          <a:xfrm>
            <a:off x="4564090" y="5398809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Apr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7" name="Google Shape;2127;p33"/>
          <p:cNvSpPr txBox="1"/>
          <p:nvPr/>
        </p:nvSpPr>
        <p:spPr>
          <a:xfrm>
            <a:off x="6569525" y="5398809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Mai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8" name="Google Shape;2128;p33"/>
          <p:cNvSpPr txBox="1"/>
          <p:nvPr/>
        </p:nvSpPr>
        <p:spPr>
          <a:xfrm>
            <a:off x="8745910" y="5398809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Juni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9" name="Google Shape;2129;p33"/>
          <p:cNvSpPr/>
          <p:nvPr/>
        </p:nvSpPr>
        <p:spPr>
          <a:xfrm>
            <a:off x="2235139" y="5398809"/>
            <a:ext cx="184800" cy="184800"/>
          </a:xfrm>
          <a:prstGeom prst="rect">
            <a:avLst/>
          </a:prstGeom>
          <a:solidFill>
            <a:srgbClr val="BCCFE8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7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0" name="Google Shape;2130;p33"/>
          <p:cNvSpPr/>
          <p:nvPr/>
        </p:nvSpPr>
        <p:spPr>
          <a:xfrm>
            <a:off x="4088334" y="5398809"/>
            <a:ext cx="184800" cy="18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1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1" name="Google Shape;2131;p33"/>
          <p:cNvSpPr/>
          <p:nvPr/>
        </p:nvSpPr>
        <p:spPr>
          <a:xfrm>
            <a:off x="6340681" y="5398771"/>
            <a:ext cx="184800" cy="184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7</a:t>
            </a:r>
          </a:p>
        </p:txBody>
      </p:sp>
      <p:sp>
        <p:nvSpPr>
          <p:cNvPr id="2132" name="Google Shape;2132;p33"/>
          <p:cNvSpPr/>
          <p:nvPr/>
        </p:nvSpPr>
        <p:spPr>
          <a:xfrm>
            <a:off x="5783999" y="5398809"/>
            <a:ext cx="184800" cy="184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9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3" name="Google Shape;2133;p33"/>
          <p:cNvSpPr/>
          <p:nvPr/>
        </p:nvSpPr>
        <p:spPr>
          <a:xfrm>
            <a:off x="5117010" y="5398809"/>
            <a:ext cx="184800" cy="184800"/>
          </a:xfrm>
          <a:prstGeom prst="rect">
            <a:avLst/>
          </a:prstGeom>
          <a:solidFill>
            <a:srgbClr val="BCCFE8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1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4" name="Google Shape;2134;p33"/>
          <p:cNvSpPr/>
          <p:nvPr/>
        </p:nvSpPr>
        <p:spPr>
          <a:xfrm>
            <a:off x="6140327" y="5398809"/>
            <a:ext cx="184800" cy="184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5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5" name="Google Shape;2135;p33"/>
          <p:cNvSpPr/>
          <p:nvPr/>
        </p:nvSpPr>
        <p:spPr>
          <a:xfrm>
            <a:off x="5312206" y="5398809"/>
            <a:ext cx="184800" cy="18480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2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6" name="Google Shape;2136;p33"/>
          <p:cNvSpPr/>
          <p:nvPr/>
        </p:nvSpPr>
        <p:spPr>
          <a:xfrm>
            <a:off x="7213491" y="5398771"/>
            <a:ext cx="184800" cy="1848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0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7" name="Google Shape;2137;p33"/>
          <p:cNvSpPr/>
          <p:nvPr/>
        </p:nvSpPr>
        <p:spPr>
          <a:xfrm>
            <a:off x="8334525" y="5398809"/>
            <a:ext cx="184800" cy="184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4</a:t>
            </a:r>
          </a:p>
        </p:txBody>
      </p:sp>
      <p:sp>
        <p:nvSpPr>
          <p:cNvPr id="2138" name="Google Shape;2138;p33"/>
          <p:cNvSpPr/>
          <p:nvPr/>
        </p:nvSpPr>
        <p:spPr>
          <a:xfrm>
            <a:off x="7606093" y="5398809"/>
            <a:ext cx="184800" cy="184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6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9" name="Google Shape;2139;p33"/>
          <p:cNvSpPr/>
          <p:nvPr/>
        </p:nvSpPr>
        <p:spPr>
          <a:xfrm>
            <a:off x="5226577" y="3468881"/>
            <a:ext cx="1219264" cy="350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rgbClr val="BCCFE8"/>
                </a:solidFill>
                <a:latin typeface="Arial"/>
                <a:ea typeface="Arial"/>
                <a:cs typeface="Arial"/>
                <a:sym typeface="Arial"/>
              </a:rPr>
              <a:t>SG</a:t>
            </a:r>
            <a:endParaRPr lang="nb-NO" sz="1000" b="0" i="0" u="none" strike="noStrike" cap="none">
              <a:solidFill>
                <a:srgbClr val="BCCFE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rankre tilnærming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0" name="Google Shape;2140;p33"/>
          <p:cNvSpPr/>
          <p:nvPr/>
        </p:nvSpPr>
        <p:spPr>
          <a:xfrm>
            <a:off x="7326582" y="4344363"/>
            <a:ext cx="816683" cy="64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KommIT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røfte nytt utkast v06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2" name="Google Shape;2142;p33"/>
          <p:cNvSpPr/>
          <p:nvPr/>
        </p:nvSpPr>
        <p:spPr>
          <a:xfrm>
            <a:off x="5394210" y="3823718"/>
            <a:ext cx="1023484" cy="3300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DIF</a:t>
            </a:r>
            <a:endParaRPr lang="nb-NO" sz="1000" b="0" i="0" u="none" strike="noStrike" cap="none">
              <a:solidFill>
                <a:srgbClr val="7030A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volvere ansatte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3" name="Google Shape;2143;p33"/>
          <p:cNvSpPr/>
          <p:nvPr/>
        </p:nvSpPr>
        <p:spPr>
          <a:xfrm>
            <a:off x="4190423" y="4153795"/>
            <a:ext cx="1024796" cy="8904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igitaliserings-utvalget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asjon av innledende utkast til eierstrategi.</a:t>
            </a:r>
            <a:endParaRPr lang="nb-NO" sz="1000"/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sng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Ønske fra DU om mer “spissing”</a:t>
            </a:r>
          </a:p>
        </p:txBody>
      </p:sp>
      <p:sp>
        <p:nvSpPr>
          <p:cNvPr id="2144" name="Google Shape;2144;p33"/>
          <p:cNvSpPr/>
          <p:nvPr/>
        </p:nvSpPr>
        <p:spPr>
          <a:xfrm>
            <a:off x="2327539" y="4667022"/>
            <a:ext cx="1442684" cy="64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1000" b="1" i="0" u="none" strike="noStrike" cap="none">
                <a:solidFill>
                  <a:srgbClr val="BCCFE8"/>
                </a:solidFill>
                <a:latin typeface="Arial"/>
                <a:ea typeface="Arial"/>
                <a:cs typeface="Arial"/>
                <a:sym typeface="Arial"/>
              </a:rPr>
              <a:t>SG (</a:t>
            </a:r>
            <a:r>
              <a:rPr lang="en-US" sz="1000" b="1" i="0" u="none" strike="noStrike" cap="none" err="1">
                <a:solidFill>
                  <a:srgbClr val="BCCFE8"/>
                </a:solidFill>
                <a:latin typeface="Arial"/>
                <a:ea typeface="Arial"/>
                <a:cs typeface="Arial"/>
                <a:sym typeface="Arial"/>
              </a:rPr>
              <a:t>Styringsgruppe</a:t>
            </a:r>
            <a:r>
              <a:rPr lang="en-US" sz="1000" b="1" i="0" u="none" strike="noStrike" cap="none">
                <a:solidFill>
                  <a:srgbClr val="BCCFE8"/>
                </a:solidFill>
                <a:latin typeface="Arial"/>
                <a:ea typeface="Arial"/>
                <a:cs typeface="Arial"/>
                <a:sym typeface="Arial"/>
              </a:rPr>
              <a:t>)</a:t>
            </a:r>
            <a:endParaRPr sz="1000" b="0" i="0" u="none" strike="noStrike" cap="none">
              <a:solidFill>
                <a:srgbClr val="BCCFE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en-US" sz="1000" b="0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esentasjon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av </a:t>
            </a:r>
            <a:r>
              <a:rPr lang="en-US" sz="1000" b="0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rmalkrav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00" b="0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il</a:t>
            </a:r>
            <a:r>
              <a:rPr lang="en-US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00" b="0" i="0" u="none" strike="noStrike" cap="none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ierstrategi</a:t>
            </a:r>
            <a:endParaRPr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5" name="Google Shape;2145;p33"/>
          <p:cNvSpPr/>
          <p:nvPr/>
        </p:nvSpPr>
        <p:spPr>
          <a:xfrm>
            <a:off x="6230912" y="4549843"/>
            <a:ext cx="1071553" cy="3970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accent6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Interimstyret</a:t>
            </a:r>
            <a:endParaRPr lang="nb-NO" sz="1000" b="0" i="0" u="none" strike="noStrike" cap="none">
              <a:solidFill>
                <a:schemeClr val="accent6">
                  <a:lumMod val="7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ørste dialog med interimstyret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6" name="Google Shape;2146;p33"/>
          <p:cNvSpPr/>
          <p:nvPr/>
        </p:nvSpPr>
        <p:spPr>
          <a:xfrm>
            <a:off x="8442741" y="4675712"/>
            <a:ext cx="614923" cy="3484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accent6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Interims-styret</a:t>
            </a: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røfte nytt utkast v07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7" name="Google Shape;2147;p33"/>
          <p:cNvSpPr/>
          <p:nvPr/>
        </p:nvSpPr>
        <p:spPr>
          <a:xfrm>
            <a:off x="5868581" y="4129027"/>
            <a:ext cx="1317975" cy="2901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Ekommune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nvolvere medlemmer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148" name="Google Shape;2148;p33"/>
          <p:cNvCxnSpPr/>
          <p:nvPr/>
        </p:nvCxnSpPr>
        <p:spPr>
          <a:xfrm rot="10800000">
            <a:off x="2320040" y="5261190"/>
            <a:ext cx="0" cy="135000"/>
          </a:xfrm>
          <a:prstGeom prst="straightConnector1">
            <a:avLst/>
          </a:prstGeom>
          <a:noFill/>
          <a:ln w="12700" cap="sq" cmpd="sng">
            <a:solidFill>
              <a:srgbClr val="BCCFE8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49" name="Google Shape;2149;p33"/>
          <p:cNvCxnSpPr/>
          <p:nvPr/>
        </p:nvCxnSpPr>
        <p:spPr>
          <a:xfrm rot="10800000">
            <a:off x="6445842" y="5266366"/>
            <a:ext cx="0" cy="135000"/>
          </a:xfrm>
          <a:prstGeom prst="straightConnector1">
            <a:avLst/>
          </a:prstGeom>
          <a:noFill/>
          <a:ln w="9525" cap="flat" cmpd="sng">
            <a:solidFill>
              <a:srgbClr val="97B85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0" name="Google Shape;2150;p33"/>
          <p:cNvCxnSpPr>
            <a:cxnSpLocks/>
            <a:stCxn id="2132" idx="0"/>
            <a:endCxn id="2147" idx="1"/>
          </p:cNvCxnSpPr>
          <p:nvPr/>
        </p:nvCxnSpPr>
        <p:spPr>
          <a:xfrm flipH="1" flipV="1">
            <a:off x="5868581" y="4274096"/>
            <a:ext cx="7818" cy="1124713"/>
          </a:xfrm>
          <a:prstGeom prst="straightConnector1">
            <a:avLst/>
          </a:prstGeom>
          <a:noFill/>
          <a:ln w="12700" cap="sq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1" name="Google Shape;2151;p33"/>
          <p:cNvCxnSpPr/>
          <p:nvPr/>
        </p:nvCxnSpPr>
        <p:spPr>
          <a:xfrm rot="10800000">
            <a:off x="6231481" y="4915509"/>
            <a:ext cx="0" cy="471956"/>
          </a:xfrm>
          <a:prstGeom prst="straightConnector1">
            <a:avLst/>
          </a:prstGeom>
          <a:noFill/>
          <a:ln w="12700" cap="sq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2" name="Google Shape;2152;p33"/>
          <p:cNvCxnSpPr>
            <a:cxnSpLocks/>
            <a:stCxn id="2133" idx="0"/>
          </p:cNvCxnSpPr>
          <p:nvPr/>
        </p:nvCxnSpPr>
        <p:spPr>
          <a:xfrm flipV="1">
            <a:off x="5209410" y="3468881"/>
            <a:ext cx="0" cy="1929928"/>
          </a:xfrm>
          <a:prstGeom prst="straightConnector1">
            <a:avLst/>
          </a:prstGeom>
          <a:noFill/>
          <a:ln w="12700" cap="sq" cmpd="sng">
            <a:solidFill>
              <a:srgbClr val="BCCFE8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3" name="Google Shape;2153;p33"/>
          <p:cNvCxnSpPr>
            <a:stCxn id="2136" idx="0"/>
          </p:cNvCxnSpPr>
          <p:nvPr/>
        </p:nvCxnSpPr>
        <p:spPr>
          <a:xfrm rot="10800000">
            <a:off x="7305891" y="4455271"/>
            <a:ext cx="0" cy="943500"/>
          </a:xfrm>
          <a:prstGeom prst="straightConnector1">
            <a:avLst/>
          </a:prstGeom>
          <a:noFill/>
          <a:ln w="12700" cap="sq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4" name="Google Shape;2154;p33"/>
          <p:cNvCxnSpPr>
            <a:cxnSpLocks/>
          </p:cNvCxnSpPr>
          <p:nvPr/>
        </p:nvCxnSpPr>
        <p:spPr>
          <a:xfrm flipH="1" flipV="1">
            <a:off x="4179065" y="4330022"/>
            <a:ext cx="7982" cy="1062563"/>
          </a:xfrm>
          <a:prstGeom prst="straightConnector1">
            <a:avLst/>
          </a:prstGeom>
          <a:noFill/>
          <a:ln w="12700" cap="sq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5" name="Google Shape;2155;p33"/>
          <p:cNvCxnSpPr>
            <a:cxnSpLocks/>
          </p:cNvCxnSpPr>
          <p:nvPr/>
        </p:nvCxnSpPr>
        <p:spPr>
          <a:xfrm flipH="1" flipV="1">
            <a:off x="5404299" y="4153795"/>
            <a:ext cx="1891" cy="1224717"/>
          </a:xfrm>
          <a:prstGeom prst="straightConnector1">
            <a:avLst/>
          </a:prstGeom>
          <a:noFill/>
          <a:ln w="9525" cap="flat" cmpd="sng">
            <a:solidFill>
              <a:srgbClr val="7030A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6" name="Google Shape;2156;p33"/>
          <p:cNvSpPr/>
          <p:nvPr/>
        </p:nvSpPr>
        <p:spPr>
          <a:xfrm>
            <a:off x="6465445" y="5086199"/>
            <a:ext cx="1391425" cy="2159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Arbeidsgruppemøter</a:t>
            </a:r>
          </a:p>
        </p:txBody>
      </p:sp>
      <p:cxnSp>
        <p:nvCxnSpPr>
          <p:cNvPr id="2157" name="Google Shape;2157;p33"/>
          <p:cNvCxnSpPr/>
          <p:nvPr/>
        </p:nvCxnSpPr>
        <p:spPr>
          <a:xfrm rot="10800000">
            <a:off x="7700166" y="5269168"/>
            <a:ext cx="0" cy="135000"/>
          </a:xfrm>
          <a:prstGeom prst="straightConnector1">
            <a:avLst/>
          </a:prstGeom>
          <a:noFill/>
          <a:ln w="9525" cap="flat" cmpd="sng">
            <a:solidFill>
              <a:srgbClr val="97B853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8" name="Google Shape;2158;p33"/>
          <p:cNvCxnSpPr/>
          <p:nvPr/>
        </p:nvCxnSpPr>
        <p:spPr>
          <a:xfrm rot="10800000">
            <a:off x="8424278" y="4924234"/>
            <a:ext cx="0" cy="471956"/>
          </a:xfrm>
          <a:prstGeom prst="straightConnector1">
            <a:avLst/>
          </a:prstGeom>
          <a:noFill/>
          <a:ln w="12700" cap="sq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59" name="Google Shape;2159;p33"/>
          <p:cNvSpPr/>
          <p:nvPr/>
        </p:nvSpPr>
        <p:spPr>
          <a:xfrm>
            <a:off x="12990844" y="67116"/>
            <a:ext cx="1259340" cy="1749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SzPts val="700"/>
            </a:pPr>
            <a:r>
              <a:rPr lang="nb-NO" sz="1000" b="1" i="0" u="sng" strike="noStrike" cap="none">
                <a:solidFill>
                  <a:srgbClr val="002060"/>
                </a:solidFill>
                <a:latin typeface="Arial"/>
                <a:ea typeface="Arial"/>
                <a:cs typeface="Arial"/>
                <a:sym typeface="Arial"/>
              </a:rPr>
              <a:t>Involverte aktører: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1000" b="1" i="0" u="none" strike="noStrike" cap="none">
              <a:solidFill>
                <a:srgbClr val="BCCFE8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rgbClr val="BCCFE8"/>
                </a:solidFill>
                <a:latin typeface="Arial"/>
                <a:ea typeface="Arial"/>
                <a:cs typeface="Arial"/>
                <a:sym typeface="Arial"/>
              </a:rPr>
              <a:t>Styringsgruppen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KommIT</a:t>
            </a:r>
          </a:p>
          <a:p>
            <a:pPr>
              <a:buSzPts val="700"/>
            </a:pPr>
            <a:r>
              <a:rPr lang="nb-NO" sz="10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U</a:t>
            </a:r>
          </a:p>
          <a:p>
            <a:pPr>
              <a:buSzPts val="700"/>
            </a:pPr>
            <a:r>
              <a:rPr lang="nb-NO" sz="1000" b="1" i="0" u="none" strike="noStrike" cap="none">
                <a:solidFill>
                  <a:srgbClr val="7030A0"/>
                </a:solidFill>
                <a:latin typeface="Arial"/>
                <a:ea typeface="Arial"/>
                <a:cs typeface="Arial"/>
                <a:sym typeface="Arial"/>
              </a:rPr>
              <a:t>DIF</a:t>
            </a:r>
          </a:p>
          <a:p>
            <a:pPr>
              <a:buSzPts val="700"/>
            </a:pPr>
            <a:r>
              <a:rPr lang="nb-NO" sz="1000" b="1" i="0" u="none" strike="noStrike" cap="none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Ekommune</a:t>
            </a:r>
          </a:p>
          <a:p>
            <a:pPr>
              <a:buSzPts val="700"/>
            </a:pPr>
            <a:r>
              <a:rPr lang="nb-NO" sz="1000" b="1" i="0" u="none" strike="noStrike" cap="none">
                <a:solidFill>
                  <a:schemeClr val="accent6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Interimstyret</a:t>
            </a:r>
          </a:p>
          <a:p>
            <a:pPr>
              <a:buSzPts val="700"/>
            </a:pPr>
            <a:r>
              <a:rPr lang="nb-NO" sz="1000" b="1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Arbeidsgruppe (medlemmer</a:t>
            </a:r>
            <a:r>
              <a:rPr lang="nb-NO" sz="1000" b="1">
                <a:solidFill>
                  <a:schemeClr val="accent3"/>
                </a:solidFill>
              </a:rPr>
              <a:t> og ansatte)</a:t>
            </a:r>
          </a:p>
          <a:p>
            <a:pPr>
              <a:buSzPts val="700"/>
            </a:pPr>
            <a:r>
              <a:rPr lang="nb-NO" sz="1000" b="1" err="1">
                <a:solidFill>
                  <a:schemeClr val="accent5">
                    <a:lumMod val="75000"/>
                  </a:schemeClr>
                </a:solidFill>
                <a:latin typeface="Arial"/>
                <a:cs typeface="Arial"/>
                <a:sym typeface="Arial"/>
              </a:rPr>
              <a:t>Representajsonsråd</a:t>
            </a:r>
            <a:endParaRPr lang="nb-NO" sz="1000" b="1">
              <a:solidFill>
                <a:schemeClr val="accent5">
                  <a:lumMod val="75000"/>
                </a:schemeClr>
              </a:solidFill>
              <a:latin typeface="Arial"/>
              <a:cs typeface="Arial"/>
              <a:sym typeface="Arial"/>
            </a:endParaRPr>
          </a:p>
          <a:p>
            <a:pPr>
              <a:buSzPts val="700"/>
            </a:pP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SzPts val="700"/>
            </a:pP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SzPts val="700"/>
            </a:pPr>
            <a:endParaRPr lang="nb-NO" sz="1000" b="0" i="0" u="none" strike="noStrike" cap="none">
              <a:solidFill>
                <a:srgbClr val="E36C09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SzPts val="700"/>
            </a:pP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SzPts val="700"/>
            </a:pPr>
            <a:endParaRPr lang="nb-NO" sz="1000" b="0" i="0" u="none" strike="noStrike" cap="none">
              <a:solidFill>
                <a:srgbClr val="7030A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1000" b="0" i="0" u="none" strike="noStrike" cap="none">
              <a:solidFill>
                <a:srgbClr val="BCCFE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78" name="Google Shape;2178;p33"/>
          <p:cNvSpPr/>
          <p:nvPr/>
        </p:nvSpPr>
        <p:spPr>
          <a:xfrm>
            <a:off x="10181110" y="5442600"/>
            <a:ext cx="941379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Medvirkning</a:t>
            </a:r>
            <a:endParaRPr lang="nb-NO"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2178;p33">
            <a:extLst>
              <a:ext uri="{FF2B5EF4-FFF2-40B4-BE49-F238E27FC236}">
                <a16:creationId xmlns:a16="http://schemas.microsoft.com/office/drawing/2014/main" id="{CC767AC7-E815-C805-FFB8-E090C7146CD8}"/>
              </a:ext>
            </a:extLst>
          </p:cNvPr>
          <p:cNvSpPr/>
          <p:nvPr/>
        </p:nvSpPr>
        <p:spPr>
          <a:xfrm>
            <a:off x="-11858" y="5380458"/>
            <a:ext cx="941379" cy="1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Medvirkning</a:t>
            </a:r>
            <a:endParaRPr lang="nb-NO"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2122;p33">
            <a:extLst>
              <a:ext uri="{FF2B5EF4-FFF2-40B4-BE49-F238E27FC236}">
                <a16:creationId xmlns:a16="http://schemas.microsoft.com/office/drawing/2014/main" id="{0BDEBDDE-F87D-3A72-F2C5-26FDDE263618}"/>
              </a:ext>
            </a:extLst>
          </p:cNvPr>
          <p:cNvSpPr/>
          <p:nvPr/>
        </p:nvSpPr>
        <p:spPr>
          <a:xfrm>
            <a:off x="993066" y="5827077"/>
            <a:ext cx="91440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lang="nb-NO"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" name="Google Shape;2123;p33">
            <a:extLst>
              <a:ext uri="{FF2B5EF4-FFF2-40B4-BE49-F238E27FC236}">
                <a16:creationId xmlns:a16="http://schemas.microsoft.com/office/drawing/2014/main" id="{E0AEB9B6-88FA-F2FB-CF8F-BA23398E67C6}"/>
              </a:ext>
            </a:extLst>
          </p:cNvPr>
          <p:cNvCxnSpPr>
            <a:cxnSpLocks/>
          </p:cNvCxnSpPr>
          <p:nvPr/>
        </p:nvCxnSpPr>
        <p:spPr>
          <a:xfrm>
            <a:off x="1734323" y="5910038"/>
            <a:ext cx="8284999" cy="0"/>
          </a:xfrm>
          <a:prstGeom prst="straightConnector1">
            <a:avLst/>
          </a:prstGeom>
          <a:noFill/>
          <a:ln w="19050" cap="rnd" cmpd="sng">
            <a:solidFill>
              <a:schemeClr val="dk2"/>
            </a:solidFill>
            <a:prstDash val="dot"/>
            <a:round/>
            <a:headEnd type="none" w="sm" len="sm"/>
            <a:tailEnd type="triangle" w="med" len="med"/>
          </a:ln>
        </p:spPr>
      </p:cxnSp>
      <p:sp>
        <p:nvSpPr>
          <p:cNvPr id="9" name="Google Shape;2124;p33">
            <a:extLst>
              <a:ext uri="{FF2B5EF4-FFF2-40B4-BE49-F238E27FC236}">
                <a16:creationId xmlns:a16="http://schemas.microsoft.com/office/drawing/2014/main" id="{0265BB30-F81F-4EDA-5A36-743F116B4214}"/>
              </a:ext>
            </a:extLst>
          </p:cNvPr>
          <p:cNvSpPr txBox="1"/>
          <p:nvPr/>
        </p:nvSpPr>
        <p:spPr>
          <a:xfrm>
            <a:off x="1347708" y="5823116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Feb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Google Shape;2125;p33">
            <a:extLst>
              <a:ext uri="{FF2B5EF4-FFF2-40B4-BE49-F238E27FC236}">
                <a16:creationId xmlns:a16="http://schemas.microsoft.com/office/drawing/2014/main" id="{0625D454-0346-2421-9D3B-E15A37583558}"/>
              </a:ext>
            </a:extLst>
          </p:cNvPr>
          <p:cNvSpPr txBox="1"/>
          <p:nvPr/>
        </p:nvSpPr>
        <p:spPr>
          <a:xfrm>
            <a:off x="2952301" y="5826747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Mar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2126;p33">
            <a:extLst>
              <a:ext uri="{FF2B5EF4-FFF2-40B4-BE49-F238E27FC236}">
                <a16:creationId xmlns:a16="http://schemas.microsoft.com/office/drawing/2014/main" id="{72561B28-1EB3-702D-5821-4A7046802ADF}"/>
              </a:ext>
            </a:extLst>
          </p:cNvPr>
          <p:cNvSpPr txBox="1"/>
          <p:nvPr/>
        </p:nvSpPr>
        <p:spPr>
          <a:xfrm>
            <a:off x="4564090" y="5826747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Apr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2127;p33">
            <a:extLst>
              <a:ext uri="{FF2B5EF4-FFF2-40B4-BE49-F238E27FC236}">
                <a16:creationId xmlns:a16="http://schemas.microsoft.com/office/drawing/2014/main" id="{FE46713B-B6A8-0713-2D88-63F160764EA7}"/>
              </a:ext>
            </a:extLst>
          </p:cNvPr>
          <p:cNvSpPr txBox="1"/>
          <p:nvPr/>
        </p:nvSpPr>
        <p:spPr>
          <a:xfrm>
            <a:off x="6569525" y="5826747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Mai 23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2128;p33">
            <a:extLst>
              <a:ext uri="{FF2B5EF4-FFF2-40B4-BE49-F238E27FC236}">
                <a16:creationId xmlns:a16="http://schemas.microsoft.com/office/drawing/2014/main" id="{FCC339DA-CAC4-3B19-FBF4-79A7E3918A17}"/>
              </a:ext>
            </a:extLst>
          </p:cNvPr>
          <p:cNvSpPr txBox="1"/>
          <p:nvPr/>
        </p:nvSpPr>
        <p:spPr>
          <a:xfrm>
            <a:off x="8745910" y="5826747"/>
            <a:ext cx="338700" cy="184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7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Juni</a:t>
            </a:r>
            <a:endParaRPr lang="nb-NO" sz="11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137;p33">
            <a:extLst>
              <a:ext uri="{FF2B5EF4-FFF2-40B4-BE49-F238E27FC236}">
                <a16:creationId xmlns:a16="http://schemas.microsoft.com/office/drawing/2014/main" id="{0A96E294-BC23-183D-F08C-4767C161798A}"/>
              </a:ext>
            </a:extLst>
          </p:cNvPr>
          <p:cNvSpPr/>
          <p:nvPr/>
        </p:nvSpPr>
        <p:spPr>
          <a:xfrm>
            <a:off x="7367594" y="5828430"/>
            <a:ext cx="260023" cy="18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0.65</a:t>
            </a:r>
          </a:p>
        </p:txBody>
      </p:sp>
      <p:sp>
        <p:nvSpPr>
          <p:cNvPr id="27" name="Google Shape;2178;p33">
            <a:extLst>
              <a:ext uri="{FF2B5EF4-FFF2-40B4-BE49-F238E27FC236}">
                <a16:creationId xmlns:a16="http://schemas.microsoft.com/office/drawing/2014/main" id="{98A65540-139E-DF72-BF2C-76E381886390}"/>
              </a:ext>
            </a:extLst>
          </p:cNvPr>
          <p:cNvSpPr/>
          <p:nvPr/>
        </p:nvSpPr>
        <p:spPr>
          <a:xfrm>
            <a:off x="10200611" y="5791776"/>
            <a:ext cx="1259340" cy="184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Versjoner dokument  eierstrategi</a:t>
            </a:r>
            <a:endParaRPr lang="nb-NO"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2178;p33">
            <a:extLst>
              <a:ext uri="{FF2B5EF4-FFF2-40B4-BE49-F238E27FC236}">
                <a16:creationId xmlns:a16="http://schemas.microsoft.com/office/drawing/2014/main" id="{BBA6BC12-F097-CE14-9093-17D5C65D2FB8}"/>
              </a:ext>
            </a:extLst>
          </p:cNvPr>
          <p:cNvSpPr/>
          <p:nvPr/>
        </p:nvSpPr>
        <p:spPr>
          <a:xfrm>
            <a:off x="-11858" y="5710744"/>
            <a:ext cx="941379" cy="184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9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Versjoner dokument eierstrategi</a:t>
            </a:r>
            <a:endParaRPr lang="nb-NO" sz="9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2137;p33">
            <a:extLst>
              <a:ext uri="{FF2B5EF4-FFF2-40B4-BE49-F238E27FC236}">
                <a16:creationId xmlns:a16="http://schemas.microsoft.com/office/drawing/2014/main" id="{45A9CA8F-89BD-9203-84D9-939CC925A6DD}"/>
              </a:ext>
            </a:extLst>
          </p:cNvPr>
          <p:cNvSpPr/>
          <p:nvPr/>
        </p:nvSpPr>
        <p:spPr>
          <a:xfrm>
            <a:off x="3829678" y="5831232"/>
            <a:ext cx="260023" cy="18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>
                <a:solidFill>
                  <a:schemeClr val="lt1"/>
                </a:solidFill>
              </a:rPr>
              <a:t>V0.5</a:t>
            </a:r>
            <a:endParaRPr lang="nb-NO"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2137;p33">
            <a:extLst>
              <a:ext uri="{FF2B5EF4-FFF2-40B4-BE49-F238E27FC236}">
                <a16:creationId xmlns:a16="http://schemas.microsoft.com/office/drawing/2014/main" id="{6191D0B6-F2FF-D7F3-FADD-9DB243025399}"/>
              </a:ext>
            </a:extLst>
          </p:cNvPr>
          <p:cNvSpPr/>
          <p:nvPr/>
        </p:nvSpPr>
        <p:spPr>
          <a:xfrm>
            <a:off x="6887101" y="5831232"/>
            <a:ext cx="260023" cy="18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V0.6</a:t>
            </a:r>
          </a:p>
        </p:txBody>
      </p:sp>
      <p:sp>
        <p:nvSpPr>
          <p:cNvPr id="31" name="Google Shape;2137;p33">
            <a:extLst>
              <a:ext uri="{FF2B5EF4-FFF2-40B4-BE49-F238E27FC236}">
                <a16:creationId xmlns:a16="http://schemas.microsoft.com/office/drawing/2014/main" id="{D64166EE-2BDB-222F-445A-560A95DA65FF}"/>
              </a:ext>
            </a:extLst>
          </p:cNvPr>
          <p:cNvSpPr/>
          <p:nvPr/>
        </p:nvSpPr>
        <p:spPr>
          <a:xfrm>
            <a:off x="8128835" y="5829556"/>
            <a:ext cx="260023" cy="18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>
                <a:solidFill>
                  <a:schemeClr val="lt1"/>
                </a:solidFill>
              </a:rPr>
              <a:t>V0.75</a:t>
            </a:r>
            <a:endParaRPr lang="nb-NO"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2136;p33">
            <a:extLst>
              <a:ext uri="{FF2B5EF4-FFF2-40B4-BE49-F238E27FC236}">
                <a16:creationId xmlns:a16="http://schemas.microsoft.com/office/drawing/2014/main" id="{1B863602-6EE2-A274-26CB-51F5D4DFC340}"/>
              </a:ext>
            </a:extLst>
          </p:cNvPr>
          <p:cNvSpPr/>
          <p:nvPr/>
        </p:nvSpPr>
        <p:spPr>
          <a:xfrm>
            <a:off x="9089548" y="5398771"/>
            <a:ext cx="184800" cy="1848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90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8</a:t>
            </a:r>
          </a:p>
        </p:txBody>
      </p:sp>
      <p:sp>
        <p:nvSpPr>
          <p:cNvPr id="6" name="Google Shape;2140;p33">
            <a:extLst>
              <a:ext uri="{FF2B5EF4-FFF2-40B4-BE49-F238E27FC236}">
                <a16:creationId xmlns:a16="http://schemas.microsoft.com/office/drawing/2014/main" id="{1A354FB5-8810-A213-81E0-667DDC8AE621}"/>
              </a:ext>
            </a:extLst>
          </p:cNvPr>
          <p:cNvSpPr/>
          <p:nvPr/>
        </p:nvSpPr>
        <p:spPr>
          <a:xfrm>
            <a:off x="9202639" y="4344363"/>
            <a:ext cx="816683" cy="64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KommIT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røfte nytt utkast v08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4" name="Google Shape;2153;p33">
            <a:extLst>
              <a:ext uri="{FF2B5EF4-FFF2-40B4-BE49-F238E27FC236}">
                <a16:creationId xmlns:a16="http://schemas.microsoft.com/office/drawing/2014/main" id="{461EADF6-B070-2E25-97CF-B6331AD68E48}"/>
              </a:ext>
            </a:extLst>
          </p:cNvPr>
          <p:cNvCxnSpPr>
            <a:stCxn id="5" idx="0"/>
          </p:cNvCxnSpPr>
          <p:nvPr/>
        </p:nvCxnSpPr>
        <p:spPr>
          <a:xfrm rot="10800000">
            <a:off x="9181948" y="4455271"/>
            <a:ext cx="0" cy="943500"/>
          </a:xfrm>
          <a:prstGeom prst="straightConnector1">
            <a:avLst/>
          </a:prstGeom>
          <a:noFill/>
          <a:ln w="12700" cap="sq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" name="Google Shape;2137;p33">
            <a:extLst>
              <a:ext uri="{FF2B5EF4-FFF2-40B4-BE49-F238E27FC236}">
                <a16:creationId xmlns:a16="http://schemas.microsoft.com/office/drawing/2014/main" id="{0517300A-15B6-078C-FCCB-FE4A071992DD}"/>
              </a:ext>
            </a:extLst>
          </p:cNvPr>
          <p:cNvSpPr/>
          <p:nvPr/>
        </p:nvSpPr>
        <p:spPr>
          <a:xfrm>
            <a:off x="9065372" y="5815835"/>
            <a:ext cx="260023" cy="18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>
                <a:solidFill>
                  <a:schemeClr val="lt1"/>
                </a:solidFill>
              </a:rPr>
              <a:t>V.08</a:t>
            </a:r>
            <a:endParaRPr lang="nb-NO"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37;p33">
            <a:extLst>
              <a:ext uri="{FF2B5EF4-FFF2-40B4-BE49-F238E27FC236}">
                <a16:creationId xmlns:a16="http://schemas.microsoft.com/office/drawing/2014/main" id="{92579F67-DBB1-24E7-0BF9-B3743B2772AD}"/>
              </a:ext>
            </a:extLst>
          </p:cNvPr>
          <p:cNvSpPr/>
          <p:nvPr/>
        </p:nvSpPr>
        <p:spPr>
          <a:xfrm>
            <a:off x="9395029" y="5822922"/>
            <a:ext cx="260023" cy="18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b-NO" sz="700" b="1">
                <a:solidFill>
                  <a:schemeClr val="lt1"/>
                </a:solidFill>
              </a:rPr>
              <a:t>V.0.85</a:t>
            </a:r>
            <a:endParaRPr lang="nb-NO" sz="700" b="1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3" name="Google Shape;2136;p33">
            <a:extLst>
              <a:ext uri="{FF2B5EF4-FFF2-40B4-BE49-F238E27FC236}">
                <a16:creationId xmlns:a16="http://schemas.microsoft.com/office/drawing/2014/main" id="{D514E2F1-D793-BFDA-EC21-B8A4B347D80B}"/>
              </a:ext>
            </a:extLst>
          </p:cNvPr>
          <p:cNvSpPr/>
          <p:nvPr/>
        </p:nvSpPr>
        <p:spPr>
          <a:xfrm>
            <a:off x="9394814" y="5391224"/>
            <a:ext cx="184800" cy="1848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90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14</a:t>
            </a:r>
          </a:p>
        </p:txBody>
      </p:sp>
      <p:sp>
        <p:nvSpPr>
          <p:cNvPr id="24" name="Google Shape;2140;p33">
            <a:extLst>
              <a:ext uri="{FF2B5EF4-FFF2-40B4-BE49-F238E27FC236}">
                <a16:creationId xmlns:a16="http://schemas.microsoft.com/office/drawing/2014/main" id="{37479AC7-3E86-4173-0502-2E5CAD5310FA}"/>
              </a:ext>
            </a:extLst>
          </p:cNvPr>
          <p:cNvSpPr/>
          <p:nvPr/>
        </p:nvSpPr>
        <p:spPr>
          <a:xfrm>
            <a:off x="9507905" y="4882916"/>
            <a:ext cx="1229887" cy="64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1" i="0" u="none" strike="noStrike" cap="none">
                <a:solidFill>
                  <a:schemeClr val="accent5">
                    <a:lumMod val="7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Representasjonsråd</a:t>
            </a:r>
            <a:endParaRPr lang="nb-NO" sz="1000" b="0" i="0" u="none" strike="noStrike" cap="none">
              <a:solidFill>
                <a:schemeClr val="accent5">
                  <a:lumMod val="75000"/>
                </a:schemeClr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r>
              <a:rPr lang="nb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rientering utkast v09</a:t>
            </a:r>
            <a:endParaRPr lang="nb-NO" sz="1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5" name="Google Shape;2153;p33">
            <a:extLst>
              <a:ext uri="{FF2B5EF4-FFF2-40B4-BE49-F238E27FC236}">
                <a16:creationId xmlns:a16="http://schemas.microsoft.com/office/drawing/2014/main" id="{3F0C0984-F561-9C62-9FC9-5E293325B540}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9487214" y="4924234"/>
            <a:ext cx="0" cy="466990"/>
          </a:xfrm>
          <a:prstGeom prst="straightConnector1">
            <a:avLst/>
          </a:prstGeom>
          <a:noFill/>
          <a:ln w="12700" cap="sq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92936AE-3EA5-E13F-0BCE-630F961511A3}"/>
              </a:ext>
            </a:extLst>
          </p:cNvPr>
          <p:cNvSpPr txBox="1"/>
          <p:nvPr/>
        </p:nvSpPr>
        <p:spPr>
          <a:xfrm>
            <a:off x="184668" y="6288966"/>
            <a:ext cx="6212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/>
              <a:t>Figur: Prosess for å lage eierstrategi på vegne av KS’ medlemmer</a:t>
            </a:r>
          </a:p>
        </p:txBody>
      </p:sp>
      <p:pic>
        <p:nvPicPr>
          <p:cNvPr id="15" name="Grafikk 14" descr="Papir kontur">
            <a:extLst>
              <a:ext uri="{FF2B5EF4-FFF2-40B4-BE49-F238E27FC236}">
                <a16:creationId xmlns:a16="http://schemas.microsoft.com/office/drawing/2014/main" id="{571851A0-D8AE-4FEB-758A-C7D5179459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98434" y="726287"/>
            <a:ext cx="2929382" cy="2929382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A8EC3AA7-2874-91D6-0E87-6AD0949C56B4}"/>
              </a:ext>
            </a:extLst>
          </p:cNvPr>
          <p:cNvSpPr txBox="1"/>
          <p:nvPr/>
        </p:nvSpPr>
        <p:spPr>
          <a:xfrm>
            <a:off x="2728699" y="2075026"/>
            <a:ext cx="11246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/>
              <a:t>Vedtekter</a:t>
            </a:r>
          </a:p>
          <a:p>
            <a:pPr algn="ctr"/>
            <a:r>
              <a:rPr lang="nb-NO" b="1"/>
              <a:t>DIF</a:t>
            </a:r>
          </a:p>
        </p:txBody>
      </p:sp>
      <p:pic>
        <p:nvPicPr>
          <p:cNvPr id="18" name="Grafikk 17" descr="Papir kontur">
            <a:extLst>
              <a:ext uri="{FF2B5EF4-FFF2-40B4-BE49-F238E27FC236}">
                <a16:creationId xmlns:a16="http://schemas.microsoft.com/office/drawing/2014/main" id="{05BF538F-D82A-A04F-7F19-1BF12708E9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18175" y="787352"/>
            <a:ext cx="2686098" cy="2686098"/>
          </a:xfrm>
          <a:prstGeom prst="rect">
            <a:avLst/>
          </a:prstGeom>
        </p:spPr>
      </p:pic>
      <p:sp>
        <p:nvSpPr>
          <p:cNvPr id="19" name="TekstSylinder 18">
            <a:extLst>
              <a:ext uri="{FF2B5EF4-FFF2-40B4-BE49-F238E27FC236}">
                <a16:creationId xmlns:a16="http://schemas.microsoft.com/office/drawing/2014/main" id="{5BD3A631-10BE-1319-8408-1ED0EB351084}"/>
              </a:ext>
            </a:extLst>
          </p:cNvPr>
          <p:cNvSpPr txBox="1"/>
          <p:nvPr/>
        </p:nvSpPr>
        <p:spPr>
          <a:xfrm>
            <a:off x="7095425" y="1881402"/>
            <a:ext cx="12641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/>
              <a:t>Eierstrategi</a:t>
            </a:r>
          </a:p>
          <a:p>
            <a:r>
              <a:rPr lang="nb-NO" b="1"/>
              <a:t>2023-2027</a:t>
            </a:r>
          </a:p>
        </p:txBody>
      </p:sp>
      <p:pic>
        <p:nvPicPr>
          <p:cNvPr id="32" name="Grafikk 31" descr="Papir kontur">
            <a:extLst>
              <a:ext uri="{FF2B5EF4-FFF2-40B4-BE49-F238E27FC236}">
                <a16:creationId xmlns:a16="http://schemas.microsoft.com/office/drawing/2014/main" id="{A66A6717-501E-8033-5CC7-ED63336164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170547" y="720606"/>
            <a:ext cx="2929382" cy="2929382"/>
          </a:xfrm>
          <a:prstGeom prst="rect">
            <a:avLst/>
          </a:prstGeom>
        </p:spPr>
      </p:pic>
      <p:sp>
        <p:nvSpPr>
          <p:cNvPr id="33" name="TekstSylinder 32">
            <a:extLst>
              <a:ext uri="{FF2B5EF4-FFF2-40B4-BE49-F238E27FC236}">
                <a16:creationId xmlns:a16="http://schemas.microsoft.com/office/drawing/2014/main" id="{7CBB33B6-A35A-20F0-04C7-AC08CE3C2A81}"/>
              </a:ext>
            </a:extLst>
          </p:cNvPr>
          <p:cNvSpPr txBox="1"/>
          <p:nvPr/>
        </p:nvSpPr>
        <p:spPr>
          <a:xfrm>
            <a:off x="659718" y="2048614"/>
            <a:ext cx="11246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/>
              <a:t>Vedtekter</a:t>
            </a:r>
          </a:p>
          <a:p>
            <a:pPr algn="ctr"/>
            <a:r>
              <a:rPr lang="nb-NO" b="1"/>
              <a:t>KS</a:t>
            </a:r>
          </a:p>
        </p:txBody>
      </p:sp>
    </p:spTree>
    <p:extLst>
      <p:ext uri="{BB962C8B-B14F-4D97-AF65-F5344CB8AC3E}">
        <p14:creationId xmlns:p14="http://schemas.microsoft.com/office/powerpoint/2010/main" val="1756899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9777E2-8E52-43D7-6095-918D76157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5481"/>
            <a:ext cx="10972800" cy="1132115"/>
          </a:xfrm>
        </p:spPr>
        <p:txBody>
          <a:bodyPr>
            <a:normAutofit/>
          </a:bodyPr>
          <a:lstStyle/>
          <a:p>
            <a:r>
              <a:rPr lang="en-US" sz="3200" err="1">
                <a:cs typeface="Calibri"/>
              </a:rPr>
              <a:t>Eierstrategi</a:t>
            </a:r>
            <a:r>
              <a:rPr lang="en-US" sz="3200">
                <a:cs typeface="Calibri"/>
              </a:rPr>
              <a:t> – </a:t>
            </a:r>
            <a:r>
              <a:rPr lang="en-US" sz="3200" err="1">
                <a:cs typeface="Calibri"/>
              </a:rPr>
              <a:t>en</a:t>
            </a:r>
            <a:r>
              <a:rPr lang="en-US" sz="3200">
                <a:cs typeface="Calibri"/>
              </a:rPr>
              <a:t> </a:t>
            </a:r>
            <a:r>
              <a:rPr lang="en-US" sz="3200" err="1">
                <a:cs typeface="Calibri"/>
              </a:rPr>
              <a:t>balansegang</a:t>
            </a:r>
            <a:endParaRPr lang="en-US" sz="32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DE3C-A89B-D61D-EBA6-9159C61D5991}"/>
              </a:ext>
            </a:extLst>
          </p:cNvPr>
          <p:cNvSpPr txBox="1"/>
          <p:nvPr/>
        </p:nvSpPr>
        <p:spPr>
          <a:xfrm>
            <a:off x="668493" y="3667566"/>
            <a:ext cx="4297645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b-NO" sz="2000">
                <a:solidFill>
                  <a:srgbClr val="001A58"/>
                </a:solidFill>
              </a:rPr>
              <a:t>Hva </a:t>
            </a:r>
            <a:r>
              <a:rPr lang="nb-NO" sz="2000" err="1">
                <a:solidFill>
                  <a:srgbClr val="001A58"/>
                </a:solidFill>
              </a:rPr>
              <a:t>vs</a:t>
            </a:r>
            <a:r>
              <a:rPr lang="nb-NO" sz="2000">
                <a:solidFill>
                  <a:srgbClr val="001A58"/>
                </a:solidFill>
              </a:rPr>
              <a:t> hvordan</a:t>
            </a:r>
            <a:endParaRPr lang="nb-NO" sz="2000">
              <a:solidFill>
                <a:srgbClr val="001A58"/>
              </a:solidFill>
              <a:cs typeface="Calibri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83FFACCE-D661-C116-74AE-DC27466844EE}"/>
              </a:ext>
            </a:extLst>
          </p:cNvPr>
          <p:cNvSpPr txBox="1"/>
          <p:nvPr/>
        </p:nvSpPr>
        <p:spPr>
          <a:xfrm>
            <a:off x="9461981" y="3121394"/>
            <a:ext cx="195168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>
                <a:solidFill>
                  <a:srgbClr val="001A58"/>
                </a:solidFill>
              </a:rPr>
              <a:t>Bærekraft for DIF</a:t>
            </a:r>
            <a:endParaRPr lang="nb-NO">
              <a:solidFill>
                <a:srgbClr val="001A58"/>
              </a:solidFill>
              <a:cs typeface="Calibri"/>
            </a:endParaRP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D5CB43CA-5145-40A4-9F44-FCE6E007454B}"/>
              </a:ext>
            </a:extLst>
          </p:cNvPr>
          <p:cNvGrpSpPr/>
          <p:nvPr/>
        </p:nvGrpSpPr>
        <p:grpSpPr>
          <a:xfrm>
            <a:off x="6153502" y="3121394"/>
            <a:ext cx="4284322" cy="1697520"/>
            <a:chOff x="6663868" y="3121394"/>
            <a:chExt cx="4284322" cy="1697520"/>
          </a:xfrm>
        </p:grpSpPr>
        <p:cxnSp>
          <p:nvCxnSpPr>
            <p:cNvPr id="5" name="Rett linje 4">
              <a:extLst>
                <a:ext uri="{FF2B5EF4-FFF2-40B4-BE49-F238E27FC236}">
                  <a16:creationId xmlns:a16="http://schemas.microsoft.com/office/drawing/2014/main" id="{3A71D4E8-3566-82AB-6A9A-928C42C6685C}"/>
                </a:ext>
              </a:extLst>
            </p:cNvPr>
            <p:cNvCxnSpPr/>
            <p:nvPr/>
          </p:nvCxnSpPr>
          <p:spPr>
            <a:xfrm>
              <a:off x="8091974" y="4438612"/>
              <a:ext cx="2856216" cy="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D8E4D7C7-4167-A042-EF07-F51CD37BA051}"/>
                </a:ext>
              </a:extLst>
            </p:cNvPr>
            <p:cNvSpPr/>
            <p:nvPr/>
          </p:nvSpPr>
          <p:spPr>
            <a:xfrm>
              <a:off x="9376243" y="4520964"/>
              <a:ext cx="287677" cy="297950"/>
            </a:xfrm>
            <a:prstGeom prst="ellipse">
              <a:avLst/>
            </a:prstGeom>
            <a:solidFill>
              <a:schemeClr val="tx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TextBox 3">
              <a:extLst>
                <a:ext uri="{FF2B5EF4-FFF2-40B4-BE49-F238E27FC236}">
                  <a16:creationId xmlns:a16="http://schemas.microsoft.com/office/drawing/2014/main" id="{2D3C32BD-63A0-1771-1235-386979F8AF8A}"/>
                </a:ext>
              </a:extLst>
            </p:cNvPr>
            <p:cNvSpPr txBox="1"/>
            <p:nvPr/>
          </p:nvSpPr>
          <p:spPr>
            <a:xfrm>
              <a:off x="6663868" y="3121394"/>
              <a:ext cx="2856213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nb-NO">
                  <a:solidFill>
                    <a:srgbClr val="001A58"/>
                  </a:solidFill>
                </a:rPr>
                <a:t>Forventning (behov) fra eier</a:t>
              </a:r>
              <a:endParaRPr lang="nb-NO">
                <a:solidFill>
                  <a:srgbClr val="001A58"/>
                </a:solidFill>
                <a:cs typeface="Calibri"/>
              </a:endParaRPr>
            </a:p>
          </p:txBody>
        </p:sp>
        <p:cxnSp>
          <p:nvCxnSpPr>
            <p:cNvPr id="10" name="Rett pilkobling 9">
              <a:extLst>
                <a:ext uri="{FF2B5EF4-FFF2-40B4-BE49-F238E27FC236}">
                  <a16:creationId xmlns:a16="http://schemas.microsoft.com/office/drawing/2014/main" id="{C7D853AA-8801-CE08-608A-396726BA006A}"/>
                </a:ext>
              </a:extLst>
            </p:cNvPr>
            <p:cNvCxnSpPr>
              <a:cxnSpLocks/>
            </p:cNvCxnSpPr>
            <p:nvPr/>
          </p:nvCxnSpPr>
          <p:spPr>
            <a:xfrm>
              <a:off x="8091974" y="3490726"/>
              <a:ext cx="0" cy="753791"/>
            </a:xfrm>
            <a:prstGeom prst="straightConnector1">
              <a:avLst/>
            </a:prstGeom>
            <a:ln w="76200">
              <a:solidFill>
                <a:schemeClr val="accent3">
                  <a:lumMod val="75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Rett pilkobling 2">
              <a:extLst>
                <a:ext uri="{FF2B5EF4-FFF2-40B4-BE49-F238E27FC236}">
                  <a16:creationId xmlns:a16="http://schemas.microsoft.com/office/drawing/2014/main" id="{50CD66EC-25E4-4107-27D8-11A684042E59}"/>
                </a:ext>
              </a:extLst>
            </p:cNvPr>
            <p:cNvCxnSpPr>
              <a:cxnSpLocks/>
            </p:cNvCxnSpPr>
            <p:nvPr/>
          </p:nvCxnSpPr>
          <p:spPr>
            <a:xfrm>
              <a:off x="10948190" y="3490726"/>
              <a:ext cx="0" cy="753791"/>
            </a:xfrm>
            <a:prstGeom prst="straightConnector1">
              <a:avLst/>
            </a:prstGeom>
            <a:ln w="76200">
              <a:solidFill>
                <a:srgbClr val="FF000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030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D73776-E58D-A123-6A7B-48A0C6126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221443"/>
            <a:ext cx="10972800" cy="1132115"/>
          </a:xfrm>
        </p:spPr>
        <p:txBody>
          <a:bodyPr/>
          <a:lstStyle/>
          <a:p>
            <a:r>
              <a:rPr lang="nb-NO"/>
              <a:t>Behov – overordnet ønske om leveranseområd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BCAB9395-1FF9-B1E0-7A9D-5492F60BE7C0}"/>
              </a:ext>
            </a:extLst>
          </p:cNvPr>
          <p:cNvSpPr txBox="1"/>
          <p:nvPr/>
        </p:nvSpPr>
        <p:spPr>
          <a:xfrm>
            <a:off x="609600" y="1754393"/>
            <a:ext cx="10671544" cy="12003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>
                <a:solidFill>
                  <a:srgbClr val="000000"/>
                </a:solidFill>
                <a:latin typeface="Arial" panose="020B0604020202020204" pitchFamily="34" charset="0"/>
              </a:rPr>
              <a:t>Enklere og raskere tjenesteutvikling gjenno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</a:rPr>
              <a:t>større omfang av kommunale fellestjene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</a:rPr>
              <a:t>høyere utviklingstakt av kommunale fellestjene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rgbClr val="000000"/>
                </a:solidFill>
                <a:latin typeface="Arial" panose="020B0604020202020204" pitchFamily="34" charset="0"/>
              </a:rPr>
              <a:t>høyere innovasjonstakt av kommunale fellestjenest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6FF119F7-1B04-FFED-82B9-FA0E93EFDB8C}"/>
              </a:ext>
            </a:extLst>
          </p:cNvPr>
          <p:cNvSpPr txBox="1"/>
          <p:nvPr/>
        </p:nvSpPr>
        <p:spPr>
          <a:xfrm>
            <a:off x="609600" y="3184196"/>
            <a:ext cx="10671544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 sz="1800">
                <a:solidFill>
                  <a:srgbClr val="000000"/>
                </a:solidFill>
                <a:latin typeface="Arial" panose="020B0604020202020204" pitchFamily="34" charset="0"/>
              </a:rPr>
              <a:t>Forenkling av tjenester</a:t>
            </a:r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EC68D95-6607-5A24-102C-9CE7BAF25ADC}"/>
              </a:ext>
            </a:extLst>
          </p:cNvPr>
          <p:cNvSpPr txBox="1"/>
          <p:nvPr/>
        </p:nvSpPr>
        <p:spPr>
          <a:xfrm>
            <a:off x="609600" y="3783002"/>
            <a:ext cx="10671544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 sz="1800">
                <a:solidFill>
                  <a:srgbClr val="000000"/>
                </a:solidFill>
                <a:latin typeface="Arial" panose="020B0604020202020204" pitchFamily="34" charset="0"/>
              </a:rPr>
              <a:t>Forene kompetanse og kapasitet </a:t>
            </a:r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E45E9A14-EF27-FC64-3D5B-125A6EA0A31C}"/>
              </a:ext>
            </a:extLst>
          </p:cNvPr>
          <p:cNvSpPr txBox="1"/>
          <p:nvPr/>
        </p:nvSpPr>
        <p:spPr>
          <a:xfrm>
            <a:off x="609599" y="4381808"/>
            <a:ext cx="10671543" cy="36933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 sz="1800">
                <a:solidFill>
                  <a:srgbClr val="000000"/>
                </a:solidFill>
                <a:latin typeface="Arial" panose="020B0604020202020204" pitchFamily="34" charset="0"/>
              </a:rPr>
              <a:t>Styrket kravstilling til leverandører</a:t>
            </a:r>
            <a:endParaRPr lang="nb-NO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96890C2-4824-B3A5-5C22-251109FC4DF3}"/>
              </a:ext>
            </a:extLst>
          </p:cNvPr>
          <p:cNvSpPr txBox="1"/>
          <p:nvPr/>
        </p:nvSpPr>
        <p:spPr>
          <a:xfrm>
            <a:off x="609600" y="4933089"/>
            <a:ext cx="10671542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nb-NO">
                <a:solidFill>
                  <a:srgbClr val="000000"/>
                </a:solidFill>
                <a:latin typeface="Arial" panose="020B0604020202020204" pitchFamily="34" charset="0"/>
              </a:rPr>
              <a:t>Redusert behovet for lokale anskaffelser, leverandøroppfølging og kontrakts-forvaltning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DE1E8FE5-B184-3762-4B0B-F7F14CDA6F9D}"/>
              </a:ext>
            </a:extLst>
          </p:cNvPr>
          <p:cNvSpPr txBox="1"/>
          <p:nvPr/>
        </p:nvSpPr>
        <p:spPr>
          <a:xfrm>
            <a:off x="609599" y="5579420"/>
            <a:ext cx="1067154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nb-NO">
                <a:solidFill>
                  <a:srgbClr val="000000"/>
                </a:solidFill>
                <a:latin typeface="Arial" panose="020B0604020202020204" pitchFamily="34" charset="0"/>
              </a:rPr>
              <a:t>Styrket sikkerhet, drift og forvaltning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71818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5317E-7BF0-8CB3-16E2-6A79F6F322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728867"/>
          </a:xfrm>
        </p:spPr>
        <p:txBody>
          <a:bodyPr>
            <a:normAutofit/>
          </a:bodyPr>
          <a:lstStyle/>
          <a:p>
            <a:r>
              <a:rPr lang="nb-NO" sz="2800"/>
              <a:t>Hva må kommunene og fylkeskommunene gjøre nå? 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9A8BC0-C6EE-0CA5-BED8-AD1C86ACEAC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815223" y="1913283"/>
            <a:ext cx="4222942" cy="377078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b="1" i="1"/>
              <a:t>Fra brev sendt til kommuner og fylkeskommuner 21.06.2023</a:t>
            </a:r>
          </a:p>
          <a:p>
            <a:pPr marL="0" indent="0">
              <a:buNone/>
            </a:pPr>
            <a:endParaRPr lang="nb-NO" b="1" i="1"/>
          </a:p>
          <a:p>
            <a:pPr marL="0" indent="0">
              <a:buNone/>
            </a:pPr>
            <a:r>
              <a:rPr lang="nb-NO" b="1" i="1"/>
              <a:t>1</a:t>
            </a:r>
            <a:r>
              <a:rPr lang="nb-NO" b="1" i="1">
                <a:solidFill>
                  <a:srgbClr val="FF0000"/>
                </a:solidFill>
              </a:rPr>
              <a:t>. Samtykke til overføring av gjeldende avtale om kjøp </a:t>
            </a:r>
            <a:r>
              <a:rPr lang="nb-NO" b="1" i="1"/>
              <a:t>av digitale fellestjenester fra KS </a:t>
            </a:r>
          </a:p>
          <a:p>
            <a:pPr marL="457200" indent="-457200">
              <a:buAutoNum type="arabicPeriod"/>
            </a:pPr>
            <a:endParaRPr lang="nb-NO" i="1"/>
          </a:p>
          <a:p>
            <a:pPr marL="0" indent="0">
              <a:buNone/>
            </a:pPr>
            <a:r>
              <a:rPr lang="nb-NO" b="1" i="1"/>
              <a:t>2. </a:t>
            </a:r>
            <a:r>
              <a:rPr lang="nb-NO" b="1" i="1">
                <a:solidFill>
                  <a:srgbClr val="FF0000"/>
                </a:solidFill>
              </a:rPr>
              <a:t>Tiltredelse til Samarbeidsavtale </a:t>
            </a:r>
            <a:r>
              <a:rPr lang="nb-NO" b="1" i="1"/>
              <a:t>mellom KS, KS-Digitale fellestjenester AS og kommune/fylkeskommune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A40C471-5F8F-9A3D-0764-BF5358E6E3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49101" y="3027217"/>
            <a:ext cx="2538833" cy="363443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C6321D5-E68F-6FA8-B25E-D8FF2B00AC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1858" y="2211899"/>
            <a:ext cx="2913991" cy="4193009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A1C1F76-885B-EDD9-CCAA-2A94DD010A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0601" y="1543608"/>
            <a:ext cx="3040640" cy="436540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153774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Når babyen skal lære å gå – når er for tidlig? | Babyverden.no">
            <a:extLst>
              <a:ext uri="{FF2B5EF4-FFF2-40B4-BE49-F238E27FC236}">
                <a16:creationId xmlns:a16="http://schemas.microsoft.com/office/drawing/2014/main" id="{E1D187B4-F472-004C-9BF5-8D8B194D8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033" y="0"/>
            <a:ext cx="12220033" cy="6842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04685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393C7-E8EA-4A33-26C4-41CB2BC81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926" y="2173755"/>
            <a:ext cx="5097137" cy="2068547"/>
          </a:xfrm>
        </p:spPr>
        <p:txBody>
          <a:bodyPr>
            <a:normAutofit/>
          </a:bodyPr>
          <a:lstStyle/>
          <a:p>
            <a:r>
              <a:rPr lang="en-US" sz="3200" b="1" err="1">
                <a:cs typeface="Calibri"/>
              </a:rPr>
              <a:t>Takk</a:t>
            </a:r>
            <a:r>
              <a:rPr lang="en-US" sz="3200" b="1">
                <a:cs typeface="Calibri"/>
              </a:rPr>
              <a:t> for </a:t>
            </a:r>
            <a:r>
              <a:rPr lang="en-US" sz="3200" b="1" err="1">
                <a:cs typeface="Calibri"/>
              </a:rPr>
              <a:t>oppmerksomheten</a:t>
            </a:r>
            <a:r>
              <a:rPr lang="en-US" sz="3200" b="1">
                <a:cs typeface="Calibri"/>
              </a:rPr>
              <a:t>! </a:t>
            </a:r>
            <a:br>
              <a:rPr lang="en-US" sz="3200" b="1">
                <a:cs typeface="Calibri"/>
              </a:rPr>
            </a:br>
            <a:br>
              <a:rPr lang="en-US" sz="3200" b="1">
                <a:cs typeface="Calibri"/>
              </a:rPr>
            </a:br>
            <a:r>
              <a:rPr lang="en-US" sz="3200" b="1" err="1">
                <a:cs typeface="Calibri"/>
              </a:rPr>
              <a:t>Åpent</a:t>
            </a:r>
            <a:r>
              <a:rPr lang="en-US" sz="3200" b="1">
                <a:cs typeface="Calibri"/>
              </a:rPr>
              <a:t> for </a:t>
            </a:r>
            <a:r>
              <a:rPr lang="en-US" sz="3200" b="1" err="1">
                <a:cs typeface="Calibri"/>
              </a:rPr>
              <a:t>spørsmål</a:t>
            </a:r>
            <a:r>
              <a:rPr lang="en-US" sz="3200" b="1">
                <a:cs typeface="Calibri"/>
              </a:rPr>
              <a:t> ...</a:t>
            </a:r>
            <a:endParaRPr lang="en-US" sz="3200" b="1" err="1"/>
          </a:p>
        </p:txBody>
      </p:sp>
    </p:spTree>
    <p:extLst>
      <p:ext uri="{BB962C8B-B14F-4D97-AF65-F5344CB8AC3E}">
        <p14:creationId xmlns:p14="http://schemas.microsoft.com/office/powerpoint/2010/main" val="10951746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5093AFA-C9DD-9D61-9CA5-B2B1D3CEEC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46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01CF61C-7EC4-4171-05B1-4CDFEA8BBB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1050" y="4070591"/>
            <a:ext cx="4734757" cy="23632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0626037-538D-E735-0012-C407EE674D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0970" y="502967"/>
            <a:ext cx="5393152" cy="5562158"/>
          </a:xfrm>
          <a:prstGeom prst="rect">
            <a:avLst/>
          </a:prstGeom>
        </p:spPr>
      </p:pic>
      <p:pic>
        <p:nvPicPr>
          <p:cNvPr id="3" name="Bilde 3" descr="Et bilde som inneholder tekst, skjermbilde, Nettsted, Nettside&#10;&#10;Automatisk generert beskrivelse">
            <a:extLst>
              <a:ext uri="{FF2B5EF4-FFF2-40B4-BE49-F238E27FC236}">
                <a16:creationId xmlns:a16="http://schemas.microsoft.com/office/drawing/2014/main" id="{1CD4A032-F94E-9D10-10DE-F44EF09B0B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32" t="14133" r="7363" b="6210"/>
          <a:stretch/>
        </p:blipFill>
        <p:spPr>
          <a:xfrm>
            <a:off x="5770880" y="82550"/>
            <a:ext cx="6421130" cy="3785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2919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18FA34FF-59B7-4928-9049-D05FFAFB54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solidFill>
            <a:srgbClr val="FFFFFF"/>
          </a:solidFill>
        </p:spPr>
      </p:pic>
      <p:grpSp>
        <p:nvGrpSpPr>
          <p:cNvPr id="6" name="Gruppe 5">
            <a:extLst>
              <a:ext uri="{FF2B5EF4-FFF2-40B4-BE49-F238E27FC236}">
                <a16:creationId xmlns:a16="http://schemas.microsoft.com/office/drawing/2014/main" id="{99A2E510-ADF1-FC96-1E29-9A4D18082F39}"/>
              </a:ext>
            </a:extLst>
          </p:cNvPr>
          <p:cNvGrpSpPr/>
          <p:nvPr/>
        </p:nvGrpSpPr>
        <p:grpSpPr>
          <a:xfrm>
            <a:off x="5968409" y="4245019"/>
            <a:ext cx="3016103" cy="2294004"/>
            <a:chOff x="5968409" y="4245019"/>
            <a:chExt cx="3016103" cy="2294004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20DF754E-1065-4B31-BECD-7023ADCD3948}"/>
                </a:ext>
              </a:extLst>
            </p:cNvPr>
            <p:cNvSpPr/>
            <p:nvPr/>
          </p:nvSpPr>
          <p:spPr>
            <a:xfrm>
              <a:off x="5968409" y="4245019"/>
              <a:ext cx="3016103" cy="614060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" name="Ellipse 3">
              <a:extLst>
                <a:ext uri="{FF2B5EF4-FFF2-40B4-BE49-F238E27FC236}">
                  <a16:creationId xmlns:a16="http://schemas.microsoft.com/office/drawing/2014/main" id="{ABD28972-2303-4087-AFD0-34B35B8FB103}"/>
                </a:ext>
              </a:extLst>
            </p:cNvPr>
            <p:cNvSpPr/>
            <p:nvPr/>
          </p:nvSpPr>
          <p:spPr>
            <a:xfrm>
              <a:off x="6095999" y="6007395"/>
              <a:ext cx="2009775" cy="531628"/>
            </a:xfrm>
            <a:prstGeom prst="ellips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191101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8ADAB03-BE08-4C7B-B46A-20E828BEA0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0154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ADAB03-BE08-4C7B-B46A-20E828BEA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tel 4">
            <a:extLst>
              <a:ext uri="{FF2B5EF4-FFF2-40B4-BE49-F238E27FC236}">
                <a16:creationId xmlns:a16="http://schemas.microsoft.com/office/drawing/2014/main" id="{D80F7C76-A114-8647-9238-EE90652A38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845" y="219490"/>
            <a:ext cx="5343939" cy="1080454"/>
          </a:xfrm>
        </p:spPr>
        <p:txBody>
          <a:bodyPr vert="horz">
            <a:noAutofit/>
          </a:bodyPr>
          <a:lstStyle/>
          <a:p>
            <a:r>
              <a:rPr lang="nb-NO" sz="2400" b="1"/>
              <a:t>Digitale fellestjenester leverer økende bredde og volum i tjenester til kommuner og fylkeskommuner</a:t>
            </a:r>
            <a:endParaRPr lang="nb-NO" sz="2400" b="1">
              <a:cs typeface="Calibri"/>
            </a:endParaRP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BCCEDA34-DC86-CD4B-9430-FDF00A2665D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468391" y="1509053"/>
            <a:ext cx="4039303" cy="500153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b-NO" sz="1200" b="1" i="1">
                <a:ea typeface="+mn-lt"/>
                <a:cs typeface="+mn-lt"/>
              </a:rPr>
              <a:t>SvarUt</a:t>
            </a:r>
            <a:endParaRPr lang="en-US" sz="1200" i="1">
              <a:ea typeface="+mn-lt"/>
              <a:cs typeface="+mn-lt"/>
            </a:endParaRPr>
          </a:p>
          <a:p>
            <a:r>
              <a:rPr lang="nb-NO" sz="1200" b="1">
                <a:ea typeface="+mn-lt"/>
                <a:cs typeface="+mn-lt"/>
              </a:rPr>
              <a:t>Innbyggertjenester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MinSide</a:t>
            </a:r>
          </a:p>
          <a:p>
            <a:pPr marL="1028700" lvl="1"/>
            <a:r>
              <a:rPr lang="nb-NO" sz="1200">
                <a:ea typeface="+mn-lt"/>
                <a:cs typeface="+mn-lt"/>
              </a:rPr>
              <a:t>Bekymringsmelding barnevernet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DigiSos (økonomisk sosialhjelp)</a:t>
            </a:r>
            <a:endParaRPr lang="en-US" sz="1200">
              <a:ea typeface="+mn-lt"/>
              <a:cs typeface="+mn-lt"/>
            </a:endParaRPr>
          </a:p>
          <a:p>
            <a:r>
              <a:rPr lang="nb-NO" sz="1200" b="1">
                <a:ea typeface="+mn-lt"/>
                <a:cs typeface="+mn-lt"/>
              </a:rPr>
              <a:t>Fagsystem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Fiks smittesporing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Fiks innreise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Fiks digiorden</a:t>
            </a:r>
          </a:p>
          <a:p>
            <a:pPr marL="1028700" lvl="1"/>
            <a:r>
              <a:rPr lang="nb-NO" sz="1200">
                <a:ea typeface="+mn-lt"/>
                <a:cs typeface="+mn-lt"/>
              </a:rPr>
              <a:t>KS-Læring</a:t>
            </a:r>
            <a:endParaRPr lang="en-US" sz="1200">
              <a:ea typeface="+mn-lt"/>
              <a:cs typeface="+mn-lt"/>
            </a:endParaRPr>
          </a:p>
          <a:p>
            <a:r>
              <a:rPr lang="nb-NO" sz="1200" b="1">
                <a:ea typeface="+mn-lt"/>
                <a:cs typeface="+mn-lt"/>
              </a:rPr>
              <a:t>Tilgjengeliggjør data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Folkeregister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Kjøretøyregister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Matrikkel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Enhetsregisteret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Kontakt og reservasjonsregisteret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Viktige datakilder i Covid-19</a:t>
            </a:r>
            <a:endParaRPr lang="en-US" sz="1200">
              <a:ea typeface="+mn-lt"/>
              <a:cs typeface="+mn-lt"/>
            </a:endParaRPr>
          </a:p>
          <a:p>
            <a:pPr marL="1428750" lvl="2" indent="-285750"/>
            <a:r>
              <a:rPr lang="nb-NO" sz="1200">
                <a:ea typeface="+mn-lt"/>
                <a:cs typeface="+mn-lt"/>
              </a:rPr>
              <a:t>prøvesvar, klinikermelding, vaksinasjon, innreiseregister</a:t>
            </a:r>
            <a:endParaRPr lang="en-US" sz="1200">
              <a:ea typeface="+mn-lt"/>
              <a:cs typeface="+mn-lt"/>
            </a:endParaRPr>
          </a:p>
          <a:p>
            <a:r>
              <a:rPr lang="nb-NO" sz="1200" b="1">
                <a:ea typeface="+mn-lt"/>
                <a:cs typeface="+mn-lt"/>
              </a:rPr>
              <a:t>Overføre data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Fiks del dokument</a:t>
            </a:r>
            <a:endParaRPr lang="en-US" sz="1200">
              <a:ea typeface="+mn-lt"/>
              <a:cs typeface="+mn-lt"/>
            </a:endParaRPr>
          </a:p>
          <a:p>
            <a:pPr marL="1028700" lvl="1"/>
            <a:r>
              <a:rPr lang="nb-NO" sz="1200">
                <a:ea typeface="+mn-lt"/>
                <a:cs typeface="+mn-lt"/>
              </a:rPr>
              <a:t>Fiks overfør med protokoller for arkiv, plan- og bygg, politisk behandling</a:t>
            </a:r>
            <a:endParaRPr lang="nb-NO" sz="1200">
              <a:cs typeface="Calibri"/>
            </a:endParaRP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5D8EACA8-FF9C-47D7-886F-ED751C9C5B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6096000" cy="6858000"/>
          </a:xfrm>
        </p:spPr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1F680B9-9744-4D73-AE4B-15FCB7CB42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9407520"/>
              </p:ext>
            </p:extLst>
          </p:nvPr>
        </p:nvGraphicFramePr>
        <p:xfrm>
          <a:off x="313953" y="1447994"/>
          <a:ext cx="5216088" cy="3990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00BED32-8E38-407A-ABF8-AC3D25611CE7}"/>
              </a:ext>
            </a:extLst>
          </p:cNvPr>
          <p:cNvSpPr txBox="1"/>
          <p:nvPr/>
        </p:nvSpPr>
        <p:spPr>
          <a:xfrm>
            <a:off x="0" y="5680570"/>
            <a:ext cx="510770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/>
            <a:r>
              <a:rPr lang="nb-NO" sz="1000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Omsetning i hele mill kroner.</a:t>
            </a:r>
          </a:p>
          <a:p>
            <a:pPr marL="571500"/>
            <a:r>
              <a:rPr lang="nb-NO" sz="1000">
                <a:solidFill>
                  <a:schemeClr val="tx1">
                    <a:lumMod val="50000"/>
                    <a:lumOff val="50000"/>
                  </a:schemeClr>
                </a:solidFill>
                <a:ea typeface="+mn-lt"/>
                <a:cs typeface="+mn-lt"/>
              </a:rPr>
              <a:t>Regnskap 2019-21. Budsjettert 2022.</a:t>
            </a:r>
            <a:endParaRPr lang="en-US" sz="1000">
              <a:solidFill>
                <a:schemeClr val="tx1">
                  <a:lumMod val="50000"/>
                  <a:lumOff val="50000"/>
                </a:schemeClr>
              </a:solidFill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878223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5B1CCA-2D9A-4167-B809-6B539D18DC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783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5B1CCA-2D9A-4167-B809-6B539D18D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45367F6-7F4F-4DDE-B929-313091F1CD2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AAAC30A0-9BAD-A04C-A480-2FB0BB9FE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b="1"/>
              <a:t>Utgangspunktet for prosjektet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40A7C604-60BD-E045-8131-EAECDE1076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98299" y="2340288"/>
            <a:ext cx="4099486" cy="339844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b="1"/>
              <a:t>Legge til rette for...</a:t>
            </a:r>
            <a:endParaRPr lang="nb-NO" b="1">
              <a:cs typeface="Calibri"/>
            </a:endParaRPr>
          </a:p>
          <a:p>
            <a:pPr marL="0" indent="0">
              <a:buNone/>
            </a:pPr>
            <a:endParaRPr lang="nb-NO"/>
          </a:p>
          <a:p>
            <a:r>
              <a:rPr lang="nb-NO"/>
              <a:t>God gjennomføringskraft av digitaliseringen i kommunal sektor</a:t>
            </a:r>
            <a:endParaRPr lang="nb-NO">
              <a:cs typeface="Calibri"/>
            </a:endParaRPr>
          </a:p>
          <a:p>
            <a:endParaRPr lang="nb-NO"/>
          </a:p>
          <a:p>
            <a:r>
              <a:rPr lang="nb-NO">
                <a:solidFill>
                  <a:srgbClr val="001046"/>
                </a:solidFill>
              </a:rPr>
              <a:t>Hensiktsmessig og juridisk og organisatorisk robust organisering</a:t>
            </a:r>
            <a:r>
              <a:rPr lang="nb-NO"/>
              <a:t> og styring av oppgavene som i dag ligger til avdelingen </a:t>
            </a:r>
            <a:r>
              <a:rPr lang="nb-NO" i="1"/>
              <a:t>Digitale fellestjenester </a:t>
            </a:r>
            <a:r>
              <a:rPr lang="nb-NO"/>
              <a:t>i KS</a:t>
            </a:r>
            <a:endParaRPr lang="nb-NO" i="1">
              <a:cs typeface="Calibri"/>
            </a:endParaRPr>
          </a:p>
          <a:p>
            <a:pPr marL="0" indent="0">
              <a:buNone/>
            </a:pPr>
            <a:endParaRPr lang="nb-NO" sz="2400" i="1">
              <a:highlight>
                <a:srgbClr val="FFFF00"/>
              </a:highlight>
              <a:cs typeface="Calibri"/>
            </a:endParaRPr>
          </a:p>
          <a:p>
            <a:endParaRPr lang="nb-NO"/>
          </a:p>
          <a:p>
            <a:endParaRPr lang="nb-NO">
              <a:cs typeface="Calibri"/>
            </a:endParaRPr>
          </a:p>
        </p:txBody>
      </p:sp>
      <p:pic>
        <p:nvPicPr>
          <p:cNvPr id="10" name="Plassholder for bilde 9" descr="Et bilde som inneholder person, sitter, innendørs, vindu&#10;&#10;Automatisk generert beskrivelse">
            <a:extLst>
              <a:ext uri="{FF2B5EF4-FFF2-40B4-BE49-F238E27FC236}">
                <a16:creationId xmlns:a16="http://schemas.microsoft.com/office/drawing/2014/main" id="{4027E42F-55C5-1E4E-9F8B-A852A46A7FF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8000"/>
          </a:xfrm>
        </p:spPr>
      </p:pic>
    </p:spTree>
    <p:extLst>
      <p:ext uri="{BB962C8B-B14F-4D97-AF65-F5344CB8AC3E}">
        <p14:creationId xmlns:p14="http://schemas.microsoft.com/office/powerpoint/2010/main" val="16553842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C3D7799-94B4-377B-539D-C33708AD01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130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3D7799-94B4-377B-539D-C33708AD01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0" name="Picture 6" descr="Pressemeldinger | Husbanken">
            <a:extLst>
              <a:ext uri="{FF2B5EF4-FFF2-40B4-BE49-F238E27FC236}">
                <a16:creationId xmlns:a16="http://schemas.microsoft.com/office/drawing/2014/main" id="{1D85B829-70D0-4010-9130-7F5EF2E4A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584" y="3878697"/>
            <a:ext cx="871208" cy="456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95152" y="268426"/>
            <a:ext cx="10972800" cy="1143000"/>
          </a:xfrm>
        </p:spPr>
        <p:txBody>
          <a:bodyPr vert="horz">
            <a:normAutofit/>
          </a:bodyPr>
          <a:lstStyle/>
          <a:p>
            <a:r>
              <a:rPr lang="nb-NO" b="1"/>
              <a:t>Fiks-plattformen </a:t>
            </a:r>
            <a:br>
              <a:rPr lang="nb-NO" b="1"/>
            </a:br>
            <a:r>
              <a:rPr lang="nb-NO" sz="1800" b="1"/>
              <a:t>Digital samordning for kommunal sektor</a:t>
            </a:r>
            <a:endParaRPr lang="nb-NO" sz="1600" b="1"/>
          </a:p>
        </p:txBody>
      </p:sp>
      <p:sp>
        <p:nvSpPr>
          <p:cNvPr id="44" name="Avrundet rektangel 43"/>
          <p:cNvSpPr/>
          <p:nvPr/>
        </p:nvSpPr>
        <p:spPr>
          <a:xfrm>
            <a:off x="3517024" y="3768340"/>
            <a:ext cx="5181600" cy="43200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/>
            <a:r>
              <a:rPr lang="nb-NO" sz="1200" b="1">
                <a:solidFill>
                  <a:srgbClr val="002060"/>
                </a:solidFill>
                <a:latin typeface="Arial" charset="0"/>
              </a:rPr>
              <a:t>Innbyggere og virksomheter</a:t>
            </a:r>
          </a:p>
        </p:txBody>
      </p:sp>
      <p:sp>
        <p:nvSpPr>
          <p:cNvPr id="31" name="Avrundet rektangel 30"/>
          <p:cNvSpPr/>
          <p:nvPr/>
        </p:nvSpPr>
        <p:spPr>
          <a:xfrm>
            <a:off x="3517024" y="4314396"/>
            <a:ext cx="1629180" cy="694411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1">
                <a:solidFill>
                  <a:srgbClr val="1F497D"/>
                </a:solidFill>
                <a:latin typeface="Arial" charset="0"/>
              </a:rPr>
              <a:t>Statlige og private virksomheter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6" name="Avrundet rektangel 45"/>
          <p:cNvSpPr/>
          <p:nvPr/>
        </p:nvSpPr>
        <p:spPr>
          <a:xfrm>
            <a:off x="7078624" y="4314396"/>
            <a:ext cx="1620000" cy="1171807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/>
            <a:r>
              <a:rPr lang="nb-NO" sz="1200" b="1">
                <a:solidFill>
                  <a:srgbClr val="1F497D"/>
                </a:solidFill>
                <a:latin typeface="Arial" charset="0"/>
              </a:rPr>
              <a:t>Kommuner og fylkeskommuner</a:t>
            </a:r>
          </a:p>
        </p:txBody>
      </p:sp>
      <p:sp>
        <p:nvSpPr>
          <p:cNvPr id="45" name="Avrundet rektangel 44"/>
          <p:cNvSpPr/>
          <p:nvPr/>
        </p:nvSpPr>
        <p:spPr>
          <a:xfrm>
            <a:off x="5297824" y="4314396"/>
            <a:ext cx="1610820" cy="1171807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ks-plattformen</a:t>
            </a: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52" name="Avrundet rektangel 43">
            <a:extLst>
              <a:ext uri="{FF2B5EF4-FFF2-40B4-BE49-F238E27FC236}">
                <a16:creationId xmlns:a16="http://schemas.microsoft.com/office/drawing/2014/main" id="{49892F64-1E24-48DD-8DBF-20B7F8DD717B}"/>
              </a:ext>
            </a:extLst>
          </p:cNvPr>
          <p:cNvSpPr/>
          <p:nvPr/>
        </p:nvSpPr>
        <p:spPr>
          <a:xfrm>
            <a:off x="3517024" y="5604455"/>
            <a:ext cx="5181600" cy="43200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/>
            <a:r>
              <a:rPr lang="nb-NO" sz="1200" b="1">
                <a:solidFill>
                  <a:srgbClr val="1F497D"/>
                </a:solidFill>
                <a:latin typeface="Arial" charset="0"/>
              </a:rPr>
              <a:t>Leverandører</a:t>
            </a:r>
          </a:p>
        </p:txBody>
      </p:sp>
      <p:pic>
        <p:nvPicPr>
          <p:cNvPr id="71" name="Picture 3">
            <a:extLst>
              <a:ext uri="{FF2B5EF4-FFF2-40B4-BE49-F238E27FC236}">
                <a16:creationId xmlns:a16="http://schemas.microsoft.com/office/drawing/2014/main" id="{4467C4BF-3FA4-4972-A001-CCD1BEBD2B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4585" y="2233639"/>
            <a:ext cx="504472" cy="310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2" name="Picture 4">
            <a:extLst>
              <a:ext uri="{FF2B5EF4-FFF2-40B4-BE49-F238E27FC236}">
                <a16:creationId xmlns:a16="http://schemas.microsoft.com/office/drawing/2014/main" id="{E9C66F0C-0C3C-4518-973A-90960259D8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544" y="2843174"/>
            <a:ext cx="808613" cy="381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5" name="Picture 7">
            <a:extLst>
              <a:ext uri="{FF2B5EF4-FFF2-40B4-BE49-F238E27FC236}">
                <a16:creationId xmlns:a16="http://schemas.microsoft.com/office/drawing/2014/main" id="{B869512E-2A9B-4664-AF02-709DC7A706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3403" y="5318643"/>
            <a:ext cx="1514899" cy="204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6" name="Picture 8">
            <a:extLst>
              <a:ext uri="{FF2B5EF4-FFF2-40B4-BE49-F238E27FC236}">
                <a16:creationId xmlns:a16="http://schemas.microsoft.com/office/drawing/2014/main" id="{35D466AD-72FB-4DCE-B61B-DDCAA01AAA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8652" y="4924146"/>
            <a:ext cx="1285449" cy="259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7" name="Picture 9">
            <a:extLst>
              <a:ext uri="{FF2B5EF4-FFF2-40B4-BE49-F238E27FC236}">
                <a16:creationId xmlns:a16="http://schemas.microsoft.com/office/drawing/2014/main" id="{14962F90-C490-4652-86D7-8C3D83FEB0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4957" y="2790361"/>
            <a:ext cx="960772" cy="315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9" name="Picture 11">
            <a:extLst>
              <a:ext uri="{FF2B5EF4-FFF2-40B4-BE49-F238E27FC236}">
                <a16:creationId xmlns:a16="http://schemas.microsoft.com/office/drawing/2014/main" id="{AA791399-C3EE-4781-B873-FE9909E227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699" y="4727868"/>
            <a:ext cx="473131" cy="56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0" name="Picture 12">
            <a:extLst>
              <a:ext uri="{FF2B5EF4-FFF2-40B4-BE49-F238E27FC236}">
                <a16:creationId xmlns:a16="http://schemas.microsoft.com/office/drawing/2014/main" id="{5630D442-F8AE-4989-8D4C-7365529018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0428" y="4037703"/>
            <a:ext cx="379010" cy="568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0" name="Grafikk 19">
            <a:extLst>
              <a:ext uri="{FF2B5EF4-FFF2-40B4-BE49-F238E27FC236}">
                <a16:creationId xmlns:a16="http://schemas.microsoft.com/office/drawing/2014/main" id="{787EFC55-FAC0-4F90-9378-3F029B320C2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97046" y="4375318"/>
            <a:ext cx="671306" cy="177699"/>
          </a:xfrm>
          <a:prstGeom prst="rect">
            <a:avLst/>
          </a:prstGeom>
        </p:spPr>
      </p:pic>
      <p:pic>
        <p:nvPicPr>
          <p:cNvPr id="22" name="Grafikk 21">
            <a:extLst>
              <a:ext uri="{FF2B5EF4-FFF2-40B4-BE49-F238E27FC236}">
                <a16:creationId xmlns:a16="http://schemas.microsoft.com/office/drawing/2014/main" id="{C4D99E85-7B1F-42F9-9A3C-5CE5FE34F42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502771" y="3983299"/>
            <a:ext cx="711764" cy="176420"/>
          </a:xfrm>
          <a:prstGeom prst="rect">
            <a:avLst/>
          </a:prstGeom>
        </p:spPr>
      </p:pic>
      <p:pic>
        <p:nvPicPr>
          <p:cNvPr id="1026" name="Picture 2" descr="Logo og bilder - FHI">
            <a:extLst>
              <a:ext uri="{FF2B5EF4-FFF2-40B4-BE49-F238E27FC236}">
                <a16:creationId xmlns:a16="http://schemas.microsoft.com/office/drawing/2014/main" id="{B239D16E-33BA-464F-A424-0286D657BA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023" y="2131996"/>
            <a:ext cx="973591" cy="62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TekstSylinder 82">
            <a:extLst>
              <a:ext uri="{FF2B5EF4-FFF2-40B4-BE49-F238E27FC236}">
                <a16:creationId xmlns:a16="http://schemas.microsoft.com/office/drawing/2014/main" id="{4499E616-62AA-4944-8443-89BF59103C6A}"/>
              </a:ext>
            </a:extLst>
          </p:cNvPr>
          <p:cNvSpPr txBox="1"/>
          <p:nvPr/>
        </p:nvSpPr>
        <p:spPr>
          <a:xfrm>
            <a:off x="9082754" y="1642717"/>
            <a:ext cx="2325475" cy="209288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2060"/>
                </a:solidFill>
              </a:rPr>
              <a:t>356 kommu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2060"/>
                </a:solidFill>
              </a:rPr>
              <a:t>11 fylkeskommuner</a:t>
            </a:r>
            <a:endParaRPr lang="nb-NO" sz="1600">
              <a:solidFill>
                <a:srgbClr val="002060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2060"/>
                </a:solidFill>
              </a:rPr>
              <a:t>500.000 ansatte</a:t>
            </a:r>
            <a:endParaRPr lang="nb-NO" sz="1600">
              <a:solidFill>
                <a:srgbClr val="002060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2060"/>
                </a:solidFill>
              </a:rPr>
              <a:t>5,4 mill. innbyggere</a:t>
            </a:r>
            <a:endParaRPr lang="nb-NO" sz="1600">
              <a:solidFill>
                <a:srgbClr val="002060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2060"/>
                </a:solidFill>
              </a:rPr>
              <a:t>500.000 virksomheter</a:t>
            </a:r>
            <a:endParaRPr lang="nb-NO" sz="1600">
              <a:solidFill>
                <a:srgbClr val="002060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>
                <a:solidFill>
                  <a:srgbClr val="002060"/>
                </a:solidFill>
              </a:rPr>
              <a:t>tusenvis av frivillige organisasjoner</a:t>
            </a:r>
            <a:endParaRPr lang="nb-NO" sz="1600">
              <a:solidFill>
                <a:srgbClr val="002060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7" name="Pil mot venstre og høyre 60">
            <a:extLst>
              <a:ext uri="{FF2B5EF4-FFF2-40B4-BE49-F238E27FC236}">
                <a16:creationId xmlns:a16="http://schemas.microsoft.com/office/drawing/2014/main" id="{12D501C4-2267-428D-AC0A-28CECA89D711}"/>
              </a:ext>
            </a:extLst>
          </p:cNvPr>
          <p:cNvSpPr/>
          <p:nvPr/>
        </p:nvSpPr>
        <p:spPr>
          <a:xfrm rot="16200000">
            <a:off x="5923092" y="5404414"/>
            <a:ext cx="345815" cy="269969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1F497D"/>
              </a:buClr>
              <a:buSzTx/>
              <a:buFont typeface="Symbol" pitchFamily="18" charset="2"/>
              <a:buNone/>
              <a:tabLst/>
              <a:defRPr/>
            </a:pPr>
            <a:endParaRPr kumimoji="0" lang="nb-NO" sz="105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Pil mot venstre og høyre 60">
            <a:extLst>
              <a:ext uri="{FF2B5EF4-FFF2-40B4-BE49-F238E27FC236}">
                <a16:creationId xmlns:a16="http://schemas.microsoft.com/office/drawing/2014/main" id="{E38AEAF8-DCBD-4620-A497-29EAB87D815F}"/>
              </a:ext>
            </a:extLst>
          </p:cNvPr>
          <p:cNvSpPr/>
          <p:nvPr/>
        </p:nvSpPr>
        <p:spPr>
          <a:xfrm rot="16200000">
            <a:off x="5923091" y="4082578"/>
            <a:ext cx="345815" cy="269969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1F497D"/>
              </a:buClr>
              <a:buSzTx/>
              <a:buFont typeface="Symbol" pitchFamily="18" charset="2"/>
              <a:buNone/>
              <a:tabLst/>
              <a:defRPr/>
            </a:pPr>
            <a:endParaRPr kumimoji="0" lang="nb-NO" sz="105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9" name="Pil mot venstre og høyre 60">
            <a:extLst>
              <a:ext uri="{FF2B5EF4-FFF2-40B4-BE49-F238E27FC236}">
                <a16:creationId xmlns:a16="http://schemas.microsoft.com/office/drawing/2014/main" id="{064CB619-C959-4A05-9596-3BF73746B8E6}"/>
              </a:ext>
            </a:extLst>
          </p:cNvPr>
          <p:cNvSpPr/>
          <p:nvPr/>
        </p:nvSpPr>
        <p:spPr>
          <a:xfrm>
            <a:off x="5029294" y="4710231"/>
            <a:ext cx="345815" cy="269969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1F497D"/>
              </a:buClr>
              <a:buSzTx/>
              <a:buFont typeface="Symbol" pitchFamily="18" charset="2"/>
              <a:buNone/>
              <a:tabLst/>
              <a:defRPr/>
            </a:pPr>
            <a:endParaRPr kumimoji="0" lang="nb-NO" sz="105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0" name="Pil mot venstre og høyre 60">
            <a:extLst>
              <a:ext uri="{FF2B5EF4-FFF2-40B4-BE49-F238E27FC236}">
                <a16:creationId xmlns:a16="http://schemas.microsoft.com/office/drawing/2014/main" id="{339CDE19-69A0-4B90-83AE-553376063DA8}"/>
              </a:ext>
            </a:extLst>
          </p:cNvPr>
          <p:cNvSpPr/>
          <p:nvPr/>
        </p:nvSpPr>
        <p:spPr>
          <a:xfrm>
            <a:off x="6825317" y="4738316"/>
            <a:ext cx="345815" cy="269969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1F497D"/>
              </a:buClr>
              <a:buSzTx/>
              <a:buFont typeface="Symbol" pitchFamily="18" charset="2"/>
              <a:buNone/>
              <a:tabLst/>
              <a:defRPr/>
            </a:pPr>
            <a:endParaRPr kumimoji="0" lang="nb-NO" sz="105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" name="Bilde 28">
            <a:extLst>
              <a:ext uri="{FF2B5EF4-FFF2-40B4-BE49-F238E27FC236}">
                <a16:creationId xmlns:a16="http://schemas.microsoft.com/office/drawing/2014/main" id="{E0D61D72-4C7E-41E7-955D-21F1A8F7A0C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347" y="3447350"/>
            <a:ext cx="1016057" cy="302227"/>
          </a:xfrm>
          <a:prstGeom prst="rect">
            <a:avLst/>
          </a:prstGeom>
        </p:spPr>
      </p:pic>
      <p:pic>
        <p:nvPicPr>
          <p:cNvPr id="1028" name="Picture 4" descr="Logo | IMDi">
            <a:extLst>
              <a:ext uri="{FF2B5EF4-FFF2-40B4-BE49-F238E27FC236}">
                <a16:creationId xmlns:a16="http://schemas.microsoft.com/office/drawing/2014/main" id="{31E0E49D-CEF4-4230-8494-0A41FB619C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544" y="3450934"/>
            <a:ext cx="671306" cy="295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" name="Avrundet rektangel 12">
            <a:extLst>
              <a:ext uri="{FF2B5EF4-FFF2-40B4-BE49-F238E27FC236}">
                <a16:creationId xmlns:a16="http://schemas.microsoft.com/office/drawing/2014/main" id="{C4DD71E6-CE8C-434B-8D12-2F4D4DBBC4C2}"/>
              </a:ext>
            </a:extLst>
          </p:cNvPr>
          <p:cNvSpPr/>
          <p:nvPr/>
        </p:nvSpPr>
        <p:spPr>
          <a:xfrm>
            <a:off x="3517024" y="1642717"/>
            <a:ext cx="1401958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ie og barn</a:t>
            </a:r>
          </a:p>
        </p:txBody>
      </p:sp>
      <p:sp>
        <p:nvSpPr>
          <p:cNvPr id="102" name="Avrundet rektangel 12">
            <a:extLst>
              <a:ext uri="{FF2B5EF4-FFF2-40B4-BE49-F238E27FC236}">
                <a16:creationId xmlns:a16="http://schemas.microsoft.com/office/drawing/2014/main" id="{BAE24911-FDF4-4DD5-B3FC-A2FAA77BB450}"/>
              </a:ext>
            </a:extLst>
          </p:cNvPr>
          <p:cNvSpPr/>
          <p:nvPr/>
        </p:nvSpPr>
        <p:spPr>
          <a:xfrm>
            <a:off x="5008839" y="1642717"/>
            <a:ext cx="1823347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ole og utdanning</a:t>
            </a:r>
          </a:p>
        </p:txBody>
      </p:sp>
      <p:sp>
        <p:nvSpPr>
          <p:cNvPr id="103" name="Avrundet rektangel 12">
            <a:extLst>
              <a:ext uri="{FF2B5EF4-FFF2-40B4-BE49-F238E27FC236}">
                <a16:creationId xmlns:a16="http://schemas.microsoft.com/office/drawing/2014/main" id="{CE43C1F6-E4B8-4477-935A-9AF39362FF12}"/>
              </a:ext>
            </a:extLst>
          </p:cNvPr>
          <p:cNvSpPr/>
          <p:nvPr/>
        </p:nvSpPr>
        <p:spPr>
          <a:xfrm>
            <a:off x="3517024" y="2043692"/>
            <a:ext cx="1532587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siale tjenester</a:t>
            </a:r>
          </a:p>
        </p:txBody>
      </p:sp>
      <p:sp>
        <p:nvSpPr>
          <p:cNvPr id="104" name="Avrundet rektangel 12">
            <a:extLst>
              <a:ext uri="{FF2B5EF4-FFF2-40B4-BE49-F238E27FC236}">
                <a16:creationId xmlns:a16="http://schemas.microsoft.com/office/drawing/2014/main" id="{D8D2DDCE-21A8-42D3-8D09-7B5F5D542C92}"/>
              </a:ext>
            </a:extLst>
          </p:cNvPr>
          <p:cNvSpPr/>
          <p:nvPr/>
        </p:nvSpPr>
        <p:spPr>
          <a:xfrm>
            <a:off x="5149088" y="2043692"/>
            <a:ext cx="1561375" cy="327546"/>
          </a:xfrm>
          <a:prstGeom prst="roundRect">
            <a:avLst/>
          </a:prstGeom>
          <a:solidFill>
            <a:srgbClr val="002060"/>
          </a:solidFill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se og omsorg</a:t>
            </a:r>
          </a:p>
        </p:txBody>
      </p:sp>
      <p:sp>
        <p:nvSpPr>
          <p:cNvPr id="105" name="Avrundet rektangel 12">
            <a:extLst>
              <a:ext uri="{FF2B5EF4-FFF2-40B4-BE49-F238E27FC236}">
                <a16:creationId xmlns:a16="http://schemas.microsoft.com/office/drawing/2014/main" id="{4A9C164C-D92A-489D-8B16-04B5D0AB4C16}"/>
              </a:ext>
            </a:extLst>
          </p:cNvPr>
          <p:cNvSpPr/>
          <p:nvPr/>
        </p:nvSpPr>
        <p:spPr>
          <a:xfrm>
            <a:off x="3517024" y="2437847"/>
            <a:ext cx="1842554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byggerdialog</a:t>
            </a:r>
          </a:p>
        </p:txBody>
      </p:sp>
      <p:sp>
        <p:nvSpPr>
          <p:cNvPr id="106" name="Avrundet rektangel 12">
            <a:extLst>
              <a:ext uri="{FF2B5EF4-FFF2-40B4-BE49-F238E27FC236}">
                <a16:creationId xmlns:a16="http://schemas.microsoft.com/office/drawing/2014/main" id="{546C504D-1B3F-4641-B964-5BBB475DC90D}"/>
              </a:ext>
            </a:extLst>
          </p:cNvPr>
          <p:cNvSpPr/>
          <p:nvPr/>
        </p:nvSpPr>
        <p:spPr>
          <a:xfrm>
            <a:off x="5441496" y="2437847"/>
            <a:ext cx="1831521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fikk og transport</a:t>
            </a:r>
          </a:p>
        </p:txBody>
      </p:sp>
      <p:sp>
        <p:nvSpPr>
          <p:cNvPr id="107" name="Avrundet rektangel 12">
            <a:extLst>
              <a:ext uri="{FF2B5EF4-FFF2-40B4-BE49-F238E27FC236}">
                <a16:creationId xmlns:a16="http://schemas.microsoft.com/office/drawing/2014/main" id="{A285EAAA-770A-492E-A216-D95D5610DD03}"/>
              </a:ext>
            </a:extLst>
          </p:cNvPr>
          <p:cNvSpPr/>
          <p:nvPr/>
        </p:nvSpPr>
        <p:spPr>
          <a:xfrm>
            <a:off x="6809941" y="2043692"/>
            <a:ext cx="1889562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, klima og miljø</a:t>
            </a:r>
          </a:p>
        </p:txBody>
      </p:sp>
      <p:sp>
        <p:nvSpPr>
          <p:cNvPr id="108" name="Avrundet rektangel 12">
            <a:extLst>
              <a:ext uri="{FF2B5EF4-FFF2-40B4-BE49-F238E27FC236}">
                <a16:creationId xmlns:a16="http://schemas.microsoft.com/office/drawing/2014/main" id="{0C081069-1A46-4BCC-9A97-EA357D8F256B}"/>
              </a:ext>
            </a:extLst>
          </p:cNvPr>
          <p:cNvSpPr/>
          <p:nvPr/>
        </p:nvSpPr>
        <p:spPr>
          <a:xfrm>
            <a:off x="6917825" y="1642717"/>
            <a:ext cx="1781678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ltur, idrett og fritid</a:t>
            </a:r>
          </a:p>
        </p:txBody>
      </p:sp>
      <p:sp>
        <p:nvSpPr>
          <p:cNvPr id="109" name="Avrundet rektangel 12">
            <a:extLst>
              <a:ext uri="{FF2B5EF4-FFF2-40B4-BE49-F238E27FC236}">
                <a16:creationId xmlns:a16="http://schemas.microsoft.com/office/drawing/2014/main" id="{484FB957-9C43-4928-9850-4CBBF37C05C4}"/>
              </a:ext>
            </a:extLst>
          </p:cNvPr>
          <p:cNvSpPr/>
          <p:nvPr/>
        </p:nvSpPr>
        <p:spPr>
          <a:xfrm>
            <a:off x="3517024" y="3275911"/>
            <a:ext cx="859033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æring</a:t>
            </a:r>
          </a:p>
        </p:txBody>
      </p:sp>
      <p:sp>
        <p:nvSpPr>
          <p:cNvPr id="110" name="Avrundet rektangel 12">
            <a:extLst>
              <a:ext uri="{FF2B5EF4-FFF2-40B4-BE49-F238E27FC236}">
                <a16:creationId xmlns:a16="http://schemas.microsoft.com/office/drawing/2014/main" id="{5268935A-9EB7-47FC-B698-D1D80D40AAB4}"/>
              </a:ext>
            </a:extLst>
          </p:cNvPr>
          <p:cNvSpPr/>
          <p:nvPr/>
        </p:nvSpPr>
        <p:spPr>
          <a:xfrm>
            <a:off x="4469505" y="3275911"/>
            <a:ext cx="1502866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gg og eiendom</a:t>
            </a:r>
          </a:p>
        </p:txBody>
      </p:sp>
      <p:sp>
        <p:nvSpPr>
          <p:cNvPr id="111" name="Avrundet rektangel 12">
            <a:extLst>
              <a:ext uri="{FF2B5EF4-FFF2-40B4-BE49-F238E27FC236}">
                <a16:creationId xmlns:a16="http://schemas.microsoft.com/office/drawing/2014/main" id="{3AC31A32-AD60-473D-999E-AEAF290F424A}"/>
              </a:ext>
            </a:extLst>
          </p:cNvPr>
          <p:cNvSpPr/>
          <p:nvPr/>
        </p:nvSpPr>
        <p:spPr>
          <a:xfrm>
            <a:off x="6041983" y="3275911"/>
            <a:ext cx="2657519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krati og innbyggerrettigheter</a:t>
            </a:r>
          </a:p>
        </p:txBody>
      </p:sp>
      <p:sp>
        <p:nvSpPr>
          <p:cNvPr id="112" name="Avrundet rektangel 12">
            <a:extLst>
              <a:ext uri="{FF2B5EF4-FFF2-40B4-BE49-F238E27FC236}">
                <a16:creationId xmlns:a16="http://schemas.microsoft.com/office/drawing/2014/main" id="{8312F9E5-777C-478F-9D31-E83C54E1E3E0}"/>
              </a:ext>
            </a:extLst>
          </p:cNvPr>
          <p:cNvSpPr/>
          <p:nvPr/>
        </p:nvSpPr>
        <p:spPr>
          <a:xfrm>
            <a:off x="7356363" y="2437847"/>
            <a:ext cx="1343140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att og avgift</a:t>
            </a:r>
          </a:p>
        </p:txBody>
      </p:sp>
      <p:sp>
        <p:nvSpPr>
          <p:cNvPr id="40" name="Avrundet rektangel 30">
            <a:extLst>
              <a:ext uri="{FF2B5EF4-FFF2-40B4-BE49-F238E27FC236}">
                <a16:creationId xmlns:a16="http://schemas.microsoft.com/office/drawing/2014/main" id="{5ABB2FE3-EB14-46CA-9E6E-8D2D8D928FD4}"/>
              </a:ext>
            </a:extLst>
          </p:cNvPr>
          <p:cNvSpPr/>
          <p:nvPr/>
        </p:nvSpPr>
        <p:spPr>
          <a:xfrm>
            <a:off x="3517023" y="5048853"/>
            <a:ext cx="1629180" cy="437350"/>
          </a:xfrm>
          <a:prstGeom prst="roundRect">
            <a:avLst/>
          </a:prstGeom>
          <a:solidFill>
            <a:schemeClr val="bg1"/>
          </a:solidFill>
          <a:ln w="19050" cap="flat" cmpd="sng" algn="ctr">
            <a:solidFill>
              <a:srgbClr val="002060"/>
            </a:solidFill>
            <a:prstDash val="solid"/>
          </a:ln>
          <a:effectLst/>
        </p:spPr>
        <p:txBody>
          <a:bodyPr lIns="91440" tIns="45720" rIns="91440" bIns="45720" rtlCol="0" anchor="ctr"/>
          <a:lstStyle/>
          <a:p>
            <a:pPr algn="ctr" defTabSz="685800">
              <a:defRPr/>
            </a:pPr>
            <a:r>
              <a:rPr lang="nb-NO" sz="1200" b="1">
                <a:solidFill>
                  <a:srgbClr val="1F497D"/>
                </a:solidFill>
                <a:latin typeface="Arial"/>
                <a:cs typeface="Arial"/>
              </a:rPr>
              <a:t>Nasjonale fellestjenester</a:t>
            </a:r>
            <a:endParaRPr lang="nb-NO" sz="120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41" name="Pil mot venstre og høyre 60">
            <a:extLst>
              <a:ext uri="{FF2B5EF4-FFF2-40B4-BE49-F238E27FC236}">
                <a16:creationId xmlns:a16="http://schemas.microsoft.com/office/drawing/2014/main" id="{26033C5B-9FB4-4B33-BA50-624B9995A26A}"/>
              </a:ext>
            </a:extLst>
          </p:cNvPr>
          <p:cNvSpPr/>
          <p:nvPr/>
        </p:nvSpPr>
        <p:spPr>
          <a:xfrm>
            <a:off x="5029293" y="5077459"/>
            <a:ext cx="345815" cy="269969"/>
          </a:xfrm>
          <a:prstGeom prst="leftRightArrow">
            <a:avLst/>
          </a:prstGeom>
          <a:solidFill>
            <a:schemeClr val="tx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GB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1F497D"/>
              </a:buClr>
              <a:buSzTx/>
              <a:buFont typeface="Symbol" pitchFamily="18" charset="2"/>
              <a:buNone/>
              <a:tabLst/>
              <a:defRPr/>
            </a:pPr>
            <a:endParaRPr kumimoji="0" lang="nb-NO" sz="1050" b="1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Avrundet rektangel 12">
            <a:extLst>
              <a:ext uri="{FF2B5EF4-FFF2-40B4-BE49-F238E27FC236}">
                <a16:creationId xmlns:a16="http://schemas.microsoft.com/office/drawing/2014/main" id="{25BE468A-1454-4F0D-B22B-4C4C63C5EF11}"/>
              </a:ext>
            </a:extLst>
          </p:cNvPr>
          <p:cNvSpPr/>
          <p:nvPr/>
        </p:nvSpPr>
        <p:spPr>
          <a:xfrm>
            <a:off x="3515284" y="2859549"/>
            <a:ext cx="2657519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funnssikkerhet og beredskap</a:t>
            </a:r>
          </a:p>
        </p:txBody>
      </p:sp>
      <p:sp>
        <p:nvSpPr>
          <p:cNvPr id="43" name="Avrundet rektangel 12">
            <a:extLst>
              <a:ext uri="{FF2B5EF4-FFF2-40B4-BE49-F238E27FC236}">
                <a16:creationId xmlns:a16="http://schemas.microsoft.com/office/drawing/2014/main" id="{44124A56-1A93-4ED5-9EE1-936EC8672C63}"/>
              </a:ext>
            </a:extLst>
          </p:cNvPr>
          <p:cNvSpPr/>
          <p:nvPr/>
        </p:nvSpPr>
        <p:spPr>
          <a:xfrm>
            <a:off x="6255371" y="2856735"/>
            <a:ext cx="2443253" cy="327546"/>
          </a:xfrm>
          <a:prstGeom prst="roundRect">
            <a:avLst/>
          </a:prstGeom>
          <a:noFill/>
          <a:ln w="9525"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vandring og integrering</a:t>
            </a:r>
          </a:p>
        </p:txBody>
      </p:sp>
      <p:pic>
        <p:nvPicPr>
          <p:cNvPr id="3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47E864CC-0DC0-A04E-0EA4-1AB9D2957B5A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l="22070"/>
          <a:stretch/>
        </p:blipFill>
        <p:spPr>
          <a:xfrm>
            <a:off x="9221189" y="4179248"/>
            <a:ext cx="2048603" cy="179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2313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7D09C14-9619-599B-2BB6-E0FFD99480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265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7D09C14-9619-599B-2BB6-E0FFD99480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A388E93F-5E04-3DA1-FF92-770720BC6D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4E2BD6C-D704-4279-BD50-DF0C51EEB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865" y="551166"/>
            <a:ext cx="5302462" cy="884192"/>
          </a:xfrm>
        </p:spPr>
        <p:txBody>
          <a:bodyPr vert="horz">
            <a:normAutofit fontScale="90000"/>
          </a:bodyPr>
          <a:lstStyle/>
          <a:p>
            <a:r>
              <a:rPr lang="nb-NO" b="1">
                <a:ea typeface="+mj-lt"/>
                <a:cs typeface="+mj-lt"/>
              </a:rPr>
              <a:t>Konseptutredningen </a:t>
            </a:r>
            <a:r>
              <a:rPr lang="nb-NO" b="1"/>
              <a:t>la rammene for planleggingsfasen av selskapsetablerin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30001E-B993-4FA2-92AA-BE985C3B1F9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9601" y="2621551"/>
            <a:ext cx="4992129" cy="2801091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2200"/>
              <a:t>Selskap 100% eid av K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/>
              <a:t>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/>
              <a:t>Utdypende om medlemmenes kontroll over selskapet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/>
              <a:t>Relasjoner til en rekke ulike aktør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/>
              <a:t>Juridiske rammebetingels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2200"/>
              <a:t>m.v</a:t>
            </a:r>
          </a:p>
          <a:p>
            <a:pPr>
              <a:buFontTx/>
              <a:buChar char="-"/>
            </a:pPr>
            <a:endParaRPr lang="nb-NO"/>
          </a:p>
          <a:p>
            <a:pPr>
              <a:buFontTx/>
              <a:buChar char="-"/>
            </a:pPr>
            <a:endParaRPr lang="nb-NO"/>
          </a:p>
          <a:p>
            <a:pPr>
              <a:buFontTx/>
              <a:buChar char="-"/>
            </a:pPr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0B9992-1A25-495D-B6FE-554FCF9FC9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64598" y="119848"/>
            <a:ext cx="4758803" cy="6618303"/>
          </a:xfrm>
          <a:prstGeom prst="rect">
            <a:avLst/>
          </a:prstGeom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1462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0463E9D-F9C5-40CA-BF71-BFC362F20B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3406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0463E9D-F9C5-40CA-BF71-BFC362F20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4C53DFD-18CA-4638-A97D-8505DD7D090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59670" y="1650359"/>
            <a:ext cx="10221159" cy="52792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nb-NO"/>
              <a:t>Rollene er ulike i ulike deler av utviklingsarbeidet knyttet til digitale fellestjenester.  Løpende samhandling mellom KS, kommuner og fylkeskommuner på den ene siden, og selskapet på den andre, er avgjørende for å lykkes.</a:t>
            </a:r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2D47F844-7E09-4206-9C98-6EBE6CB6B99F}"/>
              </a:ext>
            </a:extLst>
          </p:cNvPr>
          <p:cNvSpPr/>
          <p:nvPr/>
        </p:nvSpPr>
        <p:spPr>
          <a:xfrm>
            <a:off x="788927" y="2834619"/>
            <a:ext cx="9861656" cy="243068"/>
          </a:xfrm>
          <a:prstGeom prst="rightArrow">
            <a:avLst/>
          </a:prstGeom>
          <a:solidFill>
            <a:srgbClr val="002060"/>
          </a:solidFill>
          <a:ln>
            <a:solidFill>
              <a:srgbClr val="001A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839395F-3003-4D2B-84F2-B8E70AF40250}"/>
              </a:ext>
            </a:extLst>
          </p:cNvPr>
          <p:cNvSpPr txBox="1">
            <a:spLocks/>
          </p:cNvSpPr>
          <p:nvPr/>
        </p:nvSpPr>
        <p:spPr>
          <a:xfrm>
            <a:off x="706196" y="2534875"/>
            <a:ext cx="1088573" cy="3485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b-NO" sz="1400"/>
              <a:t>Idé / behov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FD2F0D5-1C6B-4AA7-8FCF-BF532166678E}"/>
              </a:ext>
            </a:extLst>
          </p:cNvPr>
          <p:cNvSpPr txBox="1">
            <a:spLocks/>
          </p:cNvSpPr>
          <p:nvPr/>
        </p:nvSpPr>
        <p:spPr>
          <a:xfrm>
            <a:off x="9562010" y="2607589"/>
            <a:ext cx="1088573" cy="34856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b-NO" sz="1400"/>
              <a:t>Ferdig produk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AFE60B-C1E0-47B7-8721-C7A92E13060C}"/>
              </a:ext>
            </a:extLst>
          </p:cNvPr>
          <p:cNvSpPr/>
          <p:nvPr/>
        </p:nvSpPr>
        <p:spPr>
          <a:xfrm>
            <a:off x="766618" y="3121961"/>
            <a:ext cx="9885600" cy="3303460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3" name="Right Triangle 32">
            <a:extLst>
              <a:ext uri="{FF2B5EF4-FFF2-40B4-BE49-F238E27FC236}">
                <a16:creationId xmlns:a16="http://schemas.microsoft.com/office/drawing/2014/main" id="{99242AE9-C9B3-421F-BE7A-498CC461E599}"/>
              </a:ext>
            </a:extLst>
          </p:cNvPr>
          <p:cNvSpPr/>
          <p:nvPr/>
        </p:nvSpPr>
        <p:spPr>
          <a:xfrm>
            <a:off x="766618" y="3722255"/>
            <a:ext cx="9882710" cy="2161309"/>
          </a:xfrm>
          <a:prstGeom prst="rtTriangl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2" name="Right Triangle 41">
            <a:extLst>
              <a:ext uri="{FF2B5EF4-FFF2-40B4-BE49-F238E27FC236}">
                <a16:creationId xmlns:a16="http://schemas.microsoft.com/office/drawing/2014/main" id="{5C29CE3E-1973-41B5-962D-3EBB357937EB}"/>
              </a:ext>
            </a:extLst>
          </p:cNvPr>
          <p:cNvSpPr/>
          <p:nvPr/>
        </p:nvSpPr>
        <p:spPr>
          <a:xfrm rot="10800000">
            <a:off x="787673" y="3719468"/>
            <a:ext cx="9860400" cy="2161309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644265B-EE1C-47E7-AE4B-CA4D42D1C588}"/>
              </a:ext>
            </a:extLst>
          </p:cNvPr>
          <p:cNvSpPr/>
          <p:nvPr/>
        </p:nvSpPr>
        <p:spPr>
          <a:xfrm>
            <a:off x="786417" y="3188757"/>
            <a:ext cx="9861656" cy="5279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C69300D-033B-4A56-B461-50C5AF22274C}"/>
              </a:ext>
            </a:extLst>
          </p:cNvPr>
          <p:cNvSpPr/>
          <p:nvPr/>
        </p:nvSpPr>
        <p:spPr>
          <a:xfrm>
            <a:off x="766618" y="5890530"/>
            <a:ext cx="9881454" cy="53489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496BCC86-661F-4111-A532-4DEACF22A149}"/>
              </a:ext>
            </a:extLst>
          </p:cNvPr>
          <p:cNvSpPr txBox="1">
            <a:spLocks/>
          </p:cNvSpPr>
          <p:nvPr/>
        </p:nvSpPr>
        <p:spPr>
          <a:xfrm>
            <a:off x="8424907" y="3372885"/>
            <a:ext cx="2064819" cy="534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b-NO" sz="1400"/>
              <a:t>Selskapet er i førersetet. Medlemmene må delta.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D985E322-375A-4925-ACB6-FBA01D138B2C}"/>
              </a:ext>
            </a:extLst>
          </p:cNvPr>
          <p:cNvSpPr txBox="1">
            <a:spLocks/>
          </p:cNvSpPr>
          <p:nvPr/>
        </p:nvSpPr>
        <p:spPr>
          <a:xfrm>
            <a:off x="975022" y="5705473"/>
            <a:ext cx="3576162" cy="546856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001A5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b-NO" sz="1400">
                <a:solidFill>
                  <a:schemeClr val="bg1"/>
                </a:solidFill>
              </a:rPr>
              <a:t>KS og medlemmene er i førersetet.</a:t>
            </a:r>
            <a:endParaRPr lang="nb-NO" sz="1400">
              <a:solidFill>
                <a:schemeClr val="bg1"/>
              </a:solidFill>
              <a:cs typeface="Calibri"/>
            </a:endParaRPr>
          </a:p>
          <a:p>
            <a:pPr marL="0" indent="0">
              <a:buFont typeface="Arial"/>
              <a:buNone/>
            </a:pPr>
            <a:r>
              <a:rPr lang="nb-NO" sz="1400">
                <a:solidFill>
                  <a:schemeClr val="bg1"/>
                </a:solidFill>
              </a:rPr>
              <a:t>Selskapet må delta.</a:t>
            </a:r>
            <a:endParaRPr lang="nb-NO" sz="1400">
              <a:solidFill>
                <a:schemeClr val="bg1"/>
              </a:solidFill>
              <a:cs typeface="Calibri"/>
            </a:endParaRPr>
          </a:p>
        </p:txBody>
      </p:sp>
      <p:sp>
        <p:nvSpPr>
          <p:cNvPr id="46" name="Arrow: Curved Up 45">
            <a:extLst>
              <a:ext uri="{FF2B5EF4-FFF2-40B4-BE49-F238E27FC236}">
                <a16:creationId xmlns:a16="http://schemas.microsoft.com/office/drawing/2014/main" id="{A863237B-6246-4C47-A0E0-3068334044B1}"/>
              </a:ext>
            </a:extLst>
          </p:cNvPr>
          <p:cNvSpPr/>
          <p:nvPr/>
        </p:nvSpPr>
        <p:spPr>
          <a:xfrm rot="897839" flipV="1">
            <a:off x="4887080" y="4089144"/>
            <a:ext cx="1729230" cy="600497"/>
          </a:xfrm>
          <a:prstGeom prst="curvedUpArrow">
            <a:avLst/>
          </a:prstGeom>
          <a:solidFill>
            <a:srgbClr val="002060"/>
          </a:solidFill>
          <a:ln>
            <a:solidFill>
              <a:srgbClr val="001A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47" name="Arrow: Curved Up 46">
            <a:extLst>
              <a:ext uri="{FF2B5EF4-FFF2-40B4-BE49-F238E27FC236}">
                <a16:creationId xmlns:a16="http://schemas.microsoft.com/office/drawing/2014/main" id="{87D7AF74-81A6-4ACE-B8DA-B80A99006FE0}"/>
              </a:ext>
            </a:extLst>
          </p:cNvPr>
          <p:cNvSpPr/>
          <p:nvPr/>
        </p:nvSpPr>
        <p:spPr>
          <a:xfrm rot="897839" flipH="1">
            <a:off x="4552765" y="4909813"/>
            <a:ext cx="1791196" cy="645340"/>
          </a:xfrm>
          <a:prstGeom prst="curvedUpArrow">
            <a:avLst/>
          </a:prstGeom>
          <a:solidFill>
            <a:srgbClr val="002060"/>
          </a:solidFill>
          <a:ln>
            <a:solidFill>
              <a:srgbClr val="001A5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F017E94-72EE-4EF2-942F-1FCBE71EA1F7}"/>
              </a:ext>
            </a:extLst>
          </p:cNvPr>
          <p:cNvSpPr txBox="1">
            <a:spLocks/>
          </p:cNvSpPr>
          <p:nvPr/>
        </p:nvSpPr>
        <p:spPr>
          <a:xfrm>
            <a:off x="706196" y="440939"/>
            <a:ext cx="10040983" cy="10690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104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b="1"/>
              <a:t>Medlemmene må sammen med KS må ha hendene på rattet, samtidig som selskapet har tilstrekkelig autonomi for å kontinuerlig forbedre og innovere</a:t>
            </a:r>
          </a:p>
        </p:txBody>
      </p:sp>
    </p:spTree>
    <p:extLst>
      <p:ext uri="{BB962C8B-B14F-4D97-AF65-F5344CB8AC3E}">
        <p14:creationId xmlns:p14="http://schemas.microsoft.com/office/powerpoint/2010/main" val="415690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EC16C41-E6F3-497D-8C10-29FE5D0F85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1584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C16C41-E6F3-497D-8C10-29FE5D0F8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068A0A-7C21-43EB-B8F0-C313F3FC5C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352" y="312518"/>
            <a:ext cx="7491175" cy="870052"/>
          </a:xfrm>
        </p:spPr>
        <p:txBody>
          <a:bodyPr vert="horz">
            <a:normAutofit/>
          </a:bodyPr>
          <a:lstStyle/>
          <a:p>
            <a:r>
              <a:rPr lang="nb-NO" b="1"/>
              <a:t>Eierstyring og selskapsledel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97497F-1F1E-4F59-88ED-0A2D44C138BB}"/>
              </a:ext>
            </a:extLst>
          </p:cNvPr>
          <p:cNvSpPr/>
          <p:nvPr/>
        </p:nvSpPr>
        <p:spPr>
          <a:xfrm flipH="1">
            <a:off x="4831633" y="2621753"/>
            <a:ext cx="1534351" cy="253104"/>
          </a:xfrm>
          <a:prstGeom prst="rect">
            <a:avLst/>
          </a:prstGeom>
          <a:solidFill>
            <a:srgbClr val="0010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chemeClr val="bg1"/>
                </a:solidFill>
                <a:cs typeface="Calibri"/>
              </a:rPr>
              <a:t>KS 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EBA8AB-06D2-42EE-9F1F-348889AFFC13}"/>
              </a:ext>
            </a:extLst>
          </p:cNvPr>
          <p:cNvCxnSpPr>
            <a:cxnSpLocks/>
            <a:stCxn id="7" idx="2"/>
            <a:endCxn id="24" idx="0"/>
          </p:cNvCxnSpPr>
          <p:nvPr/>
        </p:nvCxnSpPr>
        <p:spPr>
          <a:xfrm>
            <a:off x="5598808" y="2874857"/>
            <a:ext cx="400" cy="444490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F013FE5A-71A0-484B-B040-CF57A98C66F0}"/>
              </a:ext>
            </a:extLst>
          </p:cNvPr>
          <p:cNvSpPr/>
          <p:nvPr/>
        </p:nvSpPr>
        <p:spPr>
          <a:xfrm flipH="1">
            <a:off x="4833291" y="3959077"/>
            <a:ext cx="1532696" cy="372140"/>
          </a:xfrm>
          <a:prstGeom prst="rect">
            <a:avLst/>
          </a:prstGeom>
          <a:solidFill>
            <a:srgbClr val="008CD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chemeClr val="bg1"/>
                </a:solidFill>
                <a:cs typeface="Calibri"/>
              </a:rPr>
              <a:t>Styre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FA3F1B7F-EB1D-4A35-A1EE-6DF90503495E}"/>
              </a:ext>
            </a:extLst>
          </p:cNvPr>
          <p:cNvCxnSpPr>
            <a:cxnSpLocks/>
            <a:stCxn id="24" idx="2"/>
            <a:endCxn id="14" idx="0"/>
          </p:cNvCxnSpPr>
          <p:nvPr/>
        </p:nvCxnSpPr>
        <p:spPr>
          <a:xfrm>
            <a:off x="5599208" y="3691487"/>
            <a:ext cx="431" cy="267590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6F078-BC4F-4A00-B52A-2DF3A5022DCE}"/>
              </a:ext>
            </a:extLst>
          </p:cNvPr>
          <p:cNvSpPr/>
          <p:nvPr/>
        </p:nvSpPr>
        <p:spPr>
          <a:xfrm flipH="1">
            <a:off x="4840232" y="4768651"/>
            <a:ext cx="1517952" cy="372140"/>
          </a:xfrm>
          <a:prstGeom prst="rect">
            <a:avLst/>
          </a:prstGeom>
          <a:solidFill>
            <a:srgbClr val="008CD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chemeClr val="bg1"/>
                </a:solidFill>
                <a:cs typeface="Calibri"/>
              </a:rPr>
              <a:t>Daglig leder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DB87B78-07CA-4CAE-A5C3-15CF4493AA81}"/>
              </a:ext>
            </a:extLst>
          </p:cNvPr>
          <p:cNvCxnSpPr>
            <a:cxnSpLocks/>
            <a:stCxn id="14" idx="2"/>
            <a:endCxn id="18" idx="0"/>
          </p:cNvCxnSpPr>
          <p:nvPr/>
        </p:nvCxnSpPr>
        <p:spPr>
          <a:xfrm flipH="1">
            <a:off x="5599208" y="4331217"/>
            <a:ext cx="431" cy="437434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73474F81-36B1-4BD9-9895-CA7A5AE96D91}"/>
              </a:ext>
            </a:extLst>
          </p:cNvPr>
          <p:cNvSpPr/>
          <p:nvPr/>
        </p:nvSpPr>
        <p:spPr>
          <a:xfrm flipH="1">
            <a:off x="4831637" y="3319347"/>
            <a:ext cx="1535142" cy="372140"/>
          </a:xfrm>
          <a:prstGeom prst="rect">
            <a:avLst/>
          </a:prstGeom>
          <a:solidFill>
            <a:srgbClr val="008CD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chemeClr val="bg1"/>
                </a:solidFill>
                <a:cs typeface="Calibri"/>
              </a:rPr>
              <a:t>Generalforsamling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08F3F05C-548B-4A92-A0A5-2CB3D8FBAAE6}"/>
              </a:ext>
            </a:extLst>
          </p:cNvPr>
          <p:cNvSpPr/>
          <p:nvPr/>
        </p:nvSpPr>
        <p:spPr>
          <a:xfrm>
            <a:off x="1168564" y="1398839"/>
            <a:ext cx="9736780" cy="4658242"/>
          </a:xfrm>
          <a:prstGeom prst="rect">
            <a:avLst/>
          </a:prstGeom>
          <a:noFill/>
          <a:ln>
            <a:solidFill>
              <a:srgbClr val="BCCFE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0653C8F-4351-484F-A108-D001C4FD9A8D}"/>
              </a:ext>
            </a:extLst>
          </p:cNvPr>
          <p:cNvSpPr/>
          <p:nvPr/>
        </p:nvSpPr>
        <p:spPr>
          <a:xfrm flipH="1">
            <a:off x="4307400" y="1744368"/>
            <a:ext cx="1184897" cy="261609"/>
          </a:xfrm>
          <a:prstGeom prst="rect">
            <a:avLst/>
          </a:prstGeom>
          <a:solidFill>
            <a:srgbClr val="0010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chemeClr val="bg1"/>
                </a:solidFill>
                <a:cs typeface="Calibri"/>
              </a:rPr>
              <a:t>Kommun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E427B04-113B-49AC-BC1E-2018483A8C05}"/>
              </a:ext>
            </a:extLst>
          </p:cNvPr>
          <p:cNvSpPr/>
          <p:nvPr/>
        </p:nvSpPr>
        <p:spPr>
          <a:xfrm flipH="1">
            <a:off x="5661188" y="1739589"/>
            <a:ext cx="1393992" cy="261609"/>
          </a:xfrm>
          <a:prstGeom prst="rect">
            <a:avLst/>
          </a:prstGeom>
          <a:solidFill>
            <a:srgbClr val="00104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chemeClr val="bg1"/>
                </a:solidFill>
                <a:cs typeface="Calibri"/>
              </a:rPr>
              <a:t>Fylkeskommuner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A6EF6244-0B79-45F5-9AB6-9A159C2573ED}"/>
              </a:ext>
            </a:extLst>
          </p:cNvPr>
          <p:cNvCxnSpPr>
            <a:cxnSpLocks/>
            <a:endCxn id="7" idx="0"/>
          </p:cNvCxnSpPr>
          <p:nvPr/>
        </p:nvCxnSpPr>
        <p:spPr>
          <a:xfrm flipH="1">
            <a:off x="5598808" y="2090774"/>
            <a:ext cx="688787" cy="530979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F4F61AF-ED4A-4DEF-9F95-4208E0D91D76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4972601" y="2090774"/>
            <a:ext cx="626207" cy="530979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29">
            <a:extLst>
              <a:ext uri="{FF2B5EF4-FFF2-40B4-BE49-F238E27FC236}">
                <a16:creationId xmlns:a16="http://schemas.microsoft.com/office/drawing/2014/main" id="{B4FC4364-405B-4216-A507-0A30A82F3C1C}"/>
              </a:ext>
            </a:extLst>
          </p:cNvPr>
          <p:cNvCxnSpPr>
            <a:cxnSpLocks/>
          </p:cNvCxnSpPr>
          <p:nvPr/>
        </p:nvCxnSpPr>
        <p:spPr>
          <a:xfrm>
            <a:off x="7278653" y="2005977"/>
            <a:ext cx="492347" cy="314904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ectangle 21">
            <a:extLst>
              <a:ext uri="{FF2B5EF4-FFF2-40B4-BE49-F238E27FC236}">
                <a16:creationId xmlns:a16="http://schemas.microsoft.com/office/drawing/2014/main" id="{2F0355FA-B752-43D5-B07F-2F901A576501}"/>
              </a:ext>
            </a:extLst>
          </p:cNvPr>
          <p:cNvSpPr/>
          <p:nvPr/>
        </p:nvSpPr>
        <p:spPr>
          <a:xfrm flipH="1">
            <a:off x="4087224" y="1658152"/>
            <a:ext cx="3120853" cy="432622"/>
          </a:xfrm>
          <a:prstGeom prst="rect">
            <a:avLst/>
          </a:prstGeom>
          <a:noFill/>
          <a:ln w="19050">
            <a:solidFill>
              <a:srgbClr val="BCCFE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/>
            <a:endParaRPr lang="nb-NO" sz="1100">
              <a:solidFill>
                <a:srgbClr val="001046"/>
              </a:solidFill>
              <a:cs typeface="Calibri"/>
            </a:endParaRPr>
          </a:p>
        </p:txBody>
      </p:sp>
      <p:cxnSp>
        <p:nvCxnSpPr>
          <p:cNvPr id="81" name="Straight Arrow Connector 29">
            <a:extLst>
              <a:ext uri="{FF2B5EF4-FFF2-40B4-BE49-F238E27FC236}">
                <a16:creationId xmlns:a16="http://schemas.microsoft.com/office/drawing/2014/main" id="{B4FC4364-405B-4216-A507-0A30A82F3C1C}"/>
              </a:ext>
            </a:extLst>
          </p:cNvPr>
          <p:cNvCxnSpPr>
            <a:cxnSpLocks/>
            <a:endCxn id="24" idx="1"/>
          </p:cNvCxnSpPr>
          <p:nvPr/>
        </p:nvCxnSpPr>
        <p:spPr>
          <a:xfrm flipH="1">
            <a:off x="6366779" y="3490481"/>
            <a:ext cx="565208" cy="14936"/>
          </a:xfrm>
          <a:prstGeom prst="straightConnector1">
            <a:avLst/>
          </a:prstGeom>
          <a:ln>
            <a:solidFill>
              <a:srgbClr val="BCCFE8"/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0EA016A6-B462-43BA-8766-1BEDE4935805}"/>
              </a:ext>
            </a:extLst>
          </p:cNvPr>
          <p:cNvSpPr/>
          <p:nvPr/>
        </p:nvSpPr>
        <p:spPr>
          <a:xfrm flipH="1">
            <a:off x="6931987" y="2361933"/>
            <a:ext cx="3120422" cy="1765723"/>
          </a:xfrm>
          <a:prstGeom prst="rect">
            <a:avLst/>
          </a:prstGeom>
          <a:solidFill>
            <a:srgbClr val="BCCFE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rgbClr val="001046"/>
                </a:solidFill>
                <a:cs typeface="Calibri"/>
              </a:rPr>
              <a:t>Representasjonsråd</a:t>
            </a:r>
          </a:p>
          <a:p>
            <a:pPr algn="ctr"/>
            <a:r>
              <a:rPr lang="nb-NO" sz="1300">
                <a:solidFill>
                  <a:srgbClr val="001046"/>
                </a:solidFill>
                <a:cs typeface="Calibri"/>
              </a:rPr>
              <a:t>Organ i KS som har til formål å ivareta kommuners og fylkeskommuners interesser i relasjon til DIF AS. Innstiller "eierstrategi" (overfor generalforsamlingen i DIF AS). Fylkesstyrelederne foreslås å utgjøre representasjonsrådet. </a:t>
            </a:r>
            <a:endParaRPr lang="nb-NO" sz="1300">
              <a:solidFill>
                <a:srgbClr val="001A58"/>
              </a:solidFill>
              <a:ea typeface="+mn-lt"/>
              <a:cs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FFAB683-E6CD-4AF6-A77F-508302299753}"/>
              </a:ext>
            </a:extLst>
          </p:cNvPr>
          <p:cNvSpPr/>
          <p:nvPr/>
        </p:nvSpPr>
        <p:spPr>
          <a:xfrm flipH="1">
            <a:off x="6931987" y="4445065"/>
            <a:ext cx="3413125" cy="1409694"/>
          </a:xfrm>
          <a:prstGeom prst="rect">
            <a:avLst/>
          </a:prstGeom>
          <a:solidFill>
            <a:srgbClr val="BCCFE8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rgbClr val="001046"/>
                </a:solidFill>
                <a:cs typeface="Calibri"/>
              </a:rPr>
              <a:t>Valgkomité</a:t>
            </a:r>
          </a:p>
          <a:p>
            <a:pPr algn="ctr"/>
            <a:r>
              <a:rPr lang="nb-NO" sz="1300">
                <a:solidFill>
                  <a:srgbClr val="001046"/>
                </a:solidFill>
                <a:cs typeface="Calibri"/>
              </a:rPr>
              <a:t>Generalforsamlingen nedsetter valgkomité. Oppgave er å utpeke styremedlemmer og evt. styreutvalg. Generalforsamlingen kan fastsette instruks, med bl.a. kompetansekrav til styremedlemmer.</a:t>
            </a:r>
          </a:p>
        </p:txBody>
      </p:sp>
      <p:sp>
        <p:nvSpPr>
          <p:cNvPr id="63" name="Rectangle 22">
            <a:extLst>
              <a:ext uri="{FF2B5EF4-FFF2-40B4-BE49-F238E27FC236}">
                <a16:creationId xmlns:a16="http://schemas.microsoft.com/office/drawing/2014/main" id="{EB65BA28-A1E6-45E4-80F2-A6FB4A9B2202}"/>
              </a:ext>
            </a:extLst>
          </p:cNvPr>
          <p:cNvSpPr/>
          <p:nvPr/>
        </p:nvSpPr>
        <p:spPr>
          <a:xfrm flipH="1">
            <a:off x="1335862" y="4173261"/>
            <a:ext cx="2436714" cy="1655239"/>
          </a:xfrm>
          <a:prstGeom prst="rect">
            <a:avLst/>
          </a:prstGeom>
          <a:solidFill>
            <a:srgbClr val="BCCFE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nb-NO" sz="1300" b="1">
                <a:solidFill>
                  <a:srgbClr val="001046"/>
                </a:solidFill>
                <a:cs typeface="Calibri"/>
              </a:rPr>
              <a:t>KS administrasjon </a:t>
            </a:r>
          </a:p>
          <a:p>
            <a:r>
              <a:rPr lang="nb-NO" sz="1300">
                <a:solidFill>
                  <a:srgbClr val="001046"/>
                </a:solidFill>
                <a:cs typeface="Calibri"/>
              </a:rPr>
              <a:t>Ivaretar </a:t>
            </a:r>
            <a:r>
              <a:rPr lang="nb-NO" sz="1300" u="sng">
                <a:solidFill>
                  <a:srgbClr val="001046"/>
                </a:solidFill>
                <a:cs typeface="Calibri"/>
              </a:rPr>
              <a:t>sekretariatfunksjon</a:t>
            </a:r>
            <a:r>
              <a:rPr lang="nb-NO" sz="1300">
                <a:solidFill>
                  <a:srgbClr val="001046"/>
                </a:solidFill>
                <a:cs typeface="Calibri"/>
              </a:rPr>
              <a:t> for </a:t>
            </a:r>
            <a:r>
              <a:rPr lang="nb-NO" sz="1300" err="1">
                <a:solidFill>
                  <a:srgbClr val="001046"/>
                </a:solidFill>
                <a:cs typeface="Calibri"/>
              </a:rPr>
              <a:t>KommIT</a:t>
            </a:r>
            <a:r>
              <a:rPr lang="nb-NO" sz="1300">
                <a:solidFill>
                  <a:srgbClr val="001046"/>
                </a:solidFill>
                <a:cs typeface="Calibri"/>
              </a:rPr>
              <a:t>-rådet, representasjonsrådet, generalforsamlingen og har ulike samhandlingsarenaer med administrasjonen i selskapet, mv. </a:t>
            </a:r>
            <a:endParaRPr lang="nb-NO" sz="1300" i="1">
              <a:solidFill>
                <a:srgbClr val="001A58"/>
              </a:solidFill>
            </a:endParaRPr>
          </a:p>
          <a:p>
            <a:endParaRPr lang="nb-NO" sz="1300" i="1">
              <a:solidFill>
                <a:srgbClr val="001A58"/>
              </a:solidFill>
              <a:cs typeface="Calibri"/>
            </a:endParaRPr>
          </a:p>
          <a:p>
            <a:endParaRPr lang="nb-NO" sz="1300">
              <a:solidFill>
                <a:srgbClr val="001046"/>
              </a:solidFill>
              <a:cs typeface="Calibri"/>
            </a:endParaRP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85FA8669-5A6E-4658-B1DB-ACE138AFE00A}"/>
              </a:ext>
            </a:extLst>
          </p:cNvPr>
          <p:cNvCxnSpPr>
            <a:cxnSpLocks/>
          </p:cNvCxnSpPr>
          <p:nvPr/>
        </p:nvCxnSpPr>
        <p:spPr>
          <a:xfrm flipH="1">
            <a:off x="9372006" y="1950596"/>
            <a:ext cx="411007" cy="0"/>
          </a:xfrm>
          <a:prstGeom prst="straightConnector1">
            <a:avLst/>
          </a:prstGeom>
          <a:ln>
            <a:solidFill>
              <a:srgbClr val="BCCFE8"/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4D07A778-8F83-4DB0-8522-E9959894E3C3}"/>
              </a:ext>
            </a:extLst>
          </p:cNvPr>
          <p:cNvCxnSpPr>
            <a:cxnSpLocks/>
          </p:cNvCxnSpPr>
          <p:nvPr/>
        </p:nvCxnSpPr>
        <p:spPr>
          <a:xfrm flipH="1">
            <a:off x="9363618" y="1685361"/>
            <a:ext cx="469756" cy="0"/>
          </a:xfrm>
          <a:prstGeom prst="straightConnector1">
            <a:avLst/>
          </a:prstGeom>
          <a:ln>
            <a:solidFill>
              <a:srgbClr val="BCCFE8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31036A4A-C8BB-4BCD-9DE1-4B925DF1690A}"/>
              </a:ext>
            </a:extLst>
          </p:cNvPr>
          <p:cNvSpPr txBox="1"/>
          <p:nvPr/>
        </p:nvSpPr>
        <p:spPr>
          <a:xfrm>
            <a:off x="9813563" y="1569945"/>
            <a:ext cx="1091781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900"/>
              <a:t>Beslutningsorgan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93060EB-04A2-46FF-86DF-6F7B0F6A29E5}"/>
              </a:ext>
            </a:extLst>
          </p:cNvPr>
          <p:cNvSpPr txBox="1"/>
          <p:nvPr/>
        </p:nvSpPr>
        <p:spPr>
          <a:xfrm>
            <a:off x="9813563" y="1816532"/>
            <a:ext cx="967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900"/>
              <a:t>Rådgivende orga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A6A3F8-CF0A-420B-AC49-0BB09EF339EA}"/>
              </a:ext>
            </a:extLst>
          </p:cNvPr>
          <p:cNvSpPr/>
          <p:nvPr/>
        </p:nvSpPr>
        <p:spPr>
          <a:xfrm flipH="1">
            <a:off x="1335862" y="2185864"/>
            <a:ext cx="1923539" cy="15805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300" b="1">
                <a:solidFill>
                  <a:srgbClr val="001046"/>
                </a:solidFill>
                <a:cs typeface="Calibri"/>
              </a:rPr>
              <a:t>KommIT-rådet</a:t>
            </a:r>
          </a:p>
          <a:p>
            <a:pPr algn="ctr"/>
            <a:endParaRPr lang="nb-NO" sz="1300">
              <a:solidFill>
                <a:srgbClr val="001A58"/>
              </a:solidFill>
              <a:cs typeface="Calibri"/>
            </a:endParaRPr>
          </a:p>
          <a:p>
            <a:pPr algn="ctr"/>
            <a:r>
              <a:rPr lang="nb-NO" sz="1300">
                <a:solidFill>
                  <a:srgbClr val="001A58"/>
                </a:solidFill>
                <a:cs typeface="Calibri"/>
              </a:rPr>
              <a:t>Inngår i saksforberedelsene til </a:t>
            </a:r>
            <a:r>
              <a:rPr lang="nb-NO" sz="1300">
                <a:solidFill>
                  <a:srgbClr val="001A58"/>
                </a:solidFill>
                <a:ea typeface="+mn-lt"/>
                <a:cs typeface="+mn-lt"/>
              </a:rPr>
              <a:t>for representasjonsrådet/</a:t>
            </a:r>
            <a:br>
              <a:rPr lang="nb-NO" sz="1300">
                <a:solidFill>
                  <a:srgbClr val="001A58"/>
                </a:solidFill>
                <a:ea typeface="+mn-lt"/>
                <a:cs typeface="+mn-lt"/>
              </a:rPr>
            </a:br>
            <a:r>
              <a:rPr lang="nb-NO" sz="1300">
                <a:solidFill>
                  <a:srgbClr val="001A58"/>
                </a:solidFill>
                <a:ea typeface="+mn-lt"/>
                <a:cs typeface="+mn-lt"/>
              </a:rPr>
              <a:t>generalforsamling mv. .</a:t>
            </a:r>
            <a:endParaRPr lang="nb-NO" sz="1300" b="1">
              <a:solidFill>
                <a:srgbClr val="001046"/>
              </a:solidFill>
              <a:cs typeface="Calibri"/>
            </a:endParaRPr>
          </a:p>
          <a:p>
            <a:pPr algn="ctr"/>
            <a:endParaRPr lang="nb-NO" sz="1300">
              <a:solidFill>
                <a:srgbClr val="001046"/>
              </a:solidFill>
              <a:ea typeface="+mn-lt"/>
              <a:cs typeface="+mn-lt"/>
            </a:endParaRPr>
          </a:p>
        </p:txBody>
      </p:sp>
      <p:cxnSp>
        <p:nvCxnSpPr>
          <p:cNvPr id="8" name="Straight Arrow Connector 29">
            <a:extLst>
              <a:ext uri="{FF2B5EF4-FFF2-40B4-BE49-F238E27FC236}">
                <a16:creationId xmlns:a16="http://schemas.microsoft.com/office/drawing/2014/main" id="{DBD559BF-B825-538D-3D34-2E5D974F66B2}"/>
              </a:ext>
            </a:extLst>
          </p:cNvPr>
          <p:cNvCxnSpPr>
            <a:cxnSpLocks/>
          </p:cNvCxnSpPr>
          <p:nvPr/>
        </p:nvCxnSpPr>
        <p:spPr>
          <a:xfrm flipH="1">
            <a:off x="3271446" y="2090774"/>
            <a:ext cx="801218" cy="483474"/>
          </a:xfrm>
          <a:prstGeom prst="straightConnector1">
            <a:avLst/>
          </a:prstGeom>
          <a:ln>
            <a:solidFill>
              <a:srgbClr val="BCCFE8"/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29">
            <a:extLst>
              <a:ext uri="{FF2B5EF4-FFF2-40B4-BE49-F238E27FC236}">
                <a16:creationId xmlns:a16="http://schemas.microsoft.com/office/drawing/2014/main" id="{C70DA42F-37AB-1C39-D00D-22E4DBD7E211}"/>
              </a:ext>
            </a:extLst>
          </p:cNvPr>
          <p:cNvCxnSpPr>
            <a:cxnSpLocks/>
          </p:cNvCxnSpPr>
          <p:nvPr/>
        </p:nvCxnSpPr>
        <p:spPr>
          <a:xfrm flipH="1" flipV="1">
            <a:off x="6410784" y="3727960"/>
            <a:ext cx="521204" cy="1178741"/>
          </a:xfrm>
          <a:prstGeom prst="straightConnector1">
            <a:avLst/>
          </a:prstGeom>
          <a:ln>
            <a:solidFill>
              <a:srgbClr val="BCCFE8"/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9">
            <a:extLst>
              <a:ext uri="{FF2B5EF4-FFF2-40B4-BE49-F238E27FC236}">
                <a16:creationId xmlns:a16="http://schemas.microsoft.com/office/drawing/2014/main" id="{14113811-E8B9-7673-955F-A73EC5C71C77}"/>
              </a:ext>
            </a:extLst>
          </p:cNvPr>
          <p:cNvCxnSpPr>
            <a:cxnSpLocks/>
          </p:cNvCxnSpPr>
          <p:nvPr/>
        </p:nvCxnSpPr>
        <p:spPr>
          <a:xfrm>
            <a:off x="3379291" y="2748305"/>
            <a:ext cx="1386746" cy="0"/>
          </a:xfrm>
          <a:prstGeom prst="straightConnector1">
            <a:avLst/>
          </a:prstGeom>
          <a:ln>
            <a:solidFill>
              <a:srgbClr val="BCCFE8"/>
            </a:solidFill>
            <a:prstDash val="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8024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SSISTID" val="bafe310d-f028-4985-8bf7-2352284ae8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svG.DpE.ONnIVDxGce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QpjZzKDkO.A036eb3B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QpjZzKDkO.A036eb3B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rGGeTmUlKPyPEE4G6z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E967C934588F44AEF1F875D7C0B48D" ma:contentTypeVersion="11" ma:contentTypeDescription="Create a new document." ma:contentTypeScope="" ma:versionID="b9b6fa643c14247bfe7f797ddc60fa39">
  <xsd:schema xmlns:xsd="http://www.w3.org/2001/XMLSchema" xmlns:xs="http://www.w3.org/2001/XMLSchema" xmlns:p="http://schemas.microsoft.com/office/2006/metadata/properties" xmlns:ns2="fda244df-73eb-425f-b5e7-529cd2d4666c" xmlns:ns3="8e1f9af1-afbf-46e5-8834-f45239ca5ea1" targetNamespace="http://schemas.microsoft.com/office/2006/metadata/properties" ma:root="true" ma:fieldsID="7c4c7926a41ce02549cec96b7851f829" ns2:_="" ns3:_="">
    <xsd:import namespace="fda244df-73eb-425f-b5e7-529cd2d4666c"/>
    <xsd:import namespace="8e1f9af1-afbf-46e5-8834-f45239ca5e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244df-73eb-425f-b5e7-529cd2d466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1f9af1-afbf-46e5-8834-f45239ca5ea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83EED4-8547-456E-9EC3-D9F501B937F9}">
  <ds:schemaRefs>
    <ds:schemaRef ds:uri="8e1f9af1-afbf-46e5-8834-f45239ca5ea1"/>
    <ds:schemaRef ds:uri="fda244df-73eb-425f-b5e7-529cd2d4666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2785E39-77C6-48BD-9922-C596EC145C2A}">
  <ds:schemaRefs>
    <ds:schemaRef ds:uri="http://www.w3.org/XML/1998/namespace"/>
    <ds:schemaRef ds:uri="http://purl.org/dc/terms/"/>
    <ds:schemaRef ds:uri="http://schemas.microsoft.com/office/2006/documentManagement/types"/>
    <ds:schemaRef ds:uri="fda244df-73eb-425f-b5e7-529cd2d4666c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infopath/2007/PartnerControls"/>
    <ds:schemaRef ds:uri="8e1f9af1-afbf-46e5-8834-f45239ca5ea1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4E9C5129-CD74-443A-9B01-9CAC21F7E6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_pptmal widescreen</Template>
  <TotalTime>0</TotalTime>
  <Words>890</Words>
  <Application>Microsoft Office PowerPoint</Application>
  <PresentationFormat>Widescreen</PresentationFormat>
  <Paragraphs>208</Paragraphs>
  <Slides>16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4" baseType="lpstr">
      <vt:lpstr>Arial</vt:lpstr>
      <vt:lpstr>Calibri</vt:lpstr>
      <vt:lpstr>Georgia</vt:lpstr>
      <vt:lpstr>Symbol</vt:lpstr>
      <vt:lpstr>KS-profiltema</vt:lpstr>
      <vt:lpstr>1_KS-profiltema</vt:lpstr>
      <vt:lpstr>KS-profiltema</vt:lpstr>
      <vt:lpstr>think-cell Slide</vt:lpstr>
      <vt:lpstr>Selskapsetablering  KS digitale fellestjenester og signaturer fra kommuner og fylkeskommuner  Webinar 8.8.2023</vt:lpstr>
      <vt:lpstr>PowerPoint-presentasjon</vt:lpstr>
      <vt:lpstr>PowerPoint-presentasjon</vt:lpstr>
      <vt:lpstr>Digitale fellestjenester leverer økende bredde og volum i tjenester til kommuner og fylkeskommuner</vt:lpstr>
      <vt:lpstr>Utgangspunktet for prosjektet</vt:lpstr>
      <vt:lpstr>Fiks-plattformen  Digital samordning for kommunal sektor</vt:lpstr>
      <vt:lpstr>Konseptutredningen la rammene for planleggingsfasen av selskapsetableringen</vt:lpstr>
      <vt:lpstr>PowerPoint-presentasjon</vt:lpstr>
      <vt:lpstr>Eierstyring og selskapsledelse</vt:lpstr>
      <vt:lpstr>PowerPoint-presentasjon</vt:lpstr>
      <vt:lpstr>Eierstrategi – en balansegang</vt:lpstr>
      <vt:lpstr>Behov – overordnet ønske om leveranseområder</vt:lpstr>
      <vt:lpstr>Hva må kommunene og fylkeskommunene gjøre nå? </vt:lpstr>
      <vt:lpstr>PowerPoint-presentasjon</vt:lpstr>
      <vt:lpstr>Takk for oppmerksomheten!   Åpent for spørsmål ...</vt:lpstr>
      <vt:lpstr>PowerPoint-presentasjon</vt:lpstr>
    </vt:vector>
  </TitlesOfParts>
  <Company>Cro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igrun Farstad</dc:creator>
  <cp:lastModifiedBy>Kristin Weidemann Wieland</cp:lastModifiedBy>
  <cp:revision>2</cp:revision>
  <cp:lastPrinted>2021-11-01T14:33:23Z</cp:lastPrinted>
  <dcterms:created xsi:type="dcterms:W3CDTF">2020-05-07T09:25:24Z</dcterms:created>
  <dcterms:modified xsi:type="dcterms:W3CDTF">2023-08-08T12:0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E967C934588F44AEF1F875D7C0B48D</vt:lpwstr>
  </property>
  <property fmtid="{D5CDD505-2E9C-101B-9397-08002B2CF9AE}" pid="3" name="CloudStatistics_StoryID">
    <vt:lpwstr>0715e71d-dc52-44aa-bdb1-619b9d982c50</vt:lpwstr>
  </property>
</Properties>
</file>